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30" r:id="rId2"/>
    <p:sldMasterId id="2147483671" r:id="rId3"/>
    <p:sldMasterId id="2147483741" r:id="rId4"/>
  </p:sldMasterIdLst>
  <p:notesMasterIdLst>
    <p:notesMasterId r:id="rId69"/>
  </p:notesMasterIdLst>
  <p:handoutMasterIdLst>
    <p:handoutMasterId r:id="rId70"/>
  </p:handoutMasterIdLst>
  <p:sldIdLst>
    <p:sldId id="256" r:id="rId5"/>
    <p:sldId id="258" r:id="rId6"/>
    <p:sldId id="259" r:id="rId7"/>
    <p:sldId id="260" r:id="rId8"/>
    <p:sldId id="263" r:id="rId9"/>
    <p:sldId id="264" r:id="rId10"/>
    <p:sldId id="265" r:id="rId11"/>
    <p:sldId id="286" r:id="rId12"/>
    <p:sldId id="266" r:id="rId13"/>
    <p:sldId id="296" r:id="rId14"/>
    <p:sldId id="287" r:id="rId15"/>
    <p:sldId id="321" r:id="rId16"/>
    <p:sldId id="323" r:id="rId17"/>
    <p:sldId id="324" r:id="rId18"/>
    <p:sldId id="325" r:id="rId19"/>
    <p:sldId id="326" r:id="rId20"/>
    <p:sldId id="327" r:id="rId21"/>
    <p:sldId id="328" r:id="rId22"/>
    <p:sldId id="329" r:id="rId23"/>
    <p:sldId id="330" r:id="rId24"/>
    <p:sldId id="342" r:id="rId25"/>
    <p:sldId id="343" r:id="rId26"/>
    <p:sldId id="344" r:id="rId27"/>
    <p:sldId id="345" r:id="rId28"/>
    <p:sldId id="346" r:id="rId29"/>
    <p:sldId id="347" r:id="rId30"/>
    <p:sldId id="348" r:id="rId31"/>
    <p:sldId id="349" r:id="rId32"/>
    <p:sldId id="294" r:id="rId33"/>
    <p:sldId id="289" r:id="rId34"/>
    <p:sldId id="290" r:id="rId35"/>
    <p:sldId id="291" r:id="rId36"/>
    <p:sldId id="292" r:id="rId37"/>
    <p:sldId id="293" r:id="rId38"/>
    <p:sldId id="306" r:id="rId39"/>
    <p:sldId id="308" r:id="rId40"/>
    <p:sldId id="309" r:id="rId41"/>
    <p:sldId id="310" r:id="rId42"/>
    <p:sldId id="311" r:id="rId43"/>
    <p:sldId id="312" r:id="rId44"/>
    <p:sldId id="313" r:id="rId45"/>
    <p:sldId id="320" r:id="rId46"/>
    <p:sldId id="314" r:id="rId47"/>
    <p:sldId id="315" r:id="rId48"/>
    <p:sldId id="316" r:id="rId49"/>
    <p:sldId id="317" r:id="rId50"/>
    <p:sldId id="318" r:id="rId51"/>
    <p:sldId id="298" r:id="rId52"/>
    <p:sldId id="299" r:id="rId53"/>
    <p:sldId id="300" r:id="rId54"/>
    <p:sldId id="301" r:id="rId55"/>
    <p:sldId id="302" r:id="rId56"/>
    <p:sldId id="303" r:id="rId57"/>
    <p:sldId id="304" r:id="rId58"/>
    <p:sldId id="305" r:id="rId59"/>
    <p:sldId id="339" r:id="rId60"/>
    <p:sldId id="332" r:id="rId61"/>
    <p:sldId id="333" r:id="rId62"/>
    <p:sldId id="334" r:id="rId63"/>
    <p:sldId id="335" r:id="rId64"/>
    <p:sldId id="336" r:id="rId65"/>
    <p:sldId id="337" r:id="rId66"/>
    <p:sldId id="338" r:id="rId67"/>
    <p:sldId id="340" r:id="rId68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256"/>
            <p14:sldId id="258"/>
            <p14:sldId id="259"/>
            <p14:sldId id="260"/>
            <p14:sldId id="263"/>
            <p14:sldId id="264"/>
            <p14:sldId id="265"/>
            <p14:sldId id="286"/>
            <p14:sldId id="266"/>
            <p14:sldId id="296"/>
            <p14:sldId id="287"/>
            <p14:sldId id="321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294"/>
            <p14:sldId id="289"/>
            <p14:sldId id="290"/>
            <p14:sldId id="291"/>
            <p14:sldId id="292"/>
            <p14:sldId id="293"/>
            <p14:sldId id="306"/>
            <p14:sldId id="308"/>
            <p14:sldId id="309"/>
            <p14:sldId id="310"/>
            <p14:sldId id="311"/>
            <p14:sldId id="312"/>
            <p14:sldId id="313"/>
            <p14:sldId id="320"/>
            <p14:sldId id="314"/>
            <p14:sldId id="315"/>
            <p14:sldId id="316"/>
            <p14:sldId id="317"/>
            <p14:sldId id="318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39"/>
            <p14:sldId id="332"/>
            <p14:sldId id="333"/>
            <p14:sldId id="334"/>
            <p14:sldId id="335"/>
            <p14:sldId id="336"/>
            <p14:sldId id="337"/>
            <p14:sldId id="338"/>
            <p14:sldId id="3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s, Jessica" initials="PJ" lastIdx="1" clrIdx="0">
    <p:extLst/>
  </p:cmAuthor>
  <p:cmAuthor id="2" name="Kagithapu Lokanadha, Sai Krishna" initials="KLSK" lastIdx="1" clrIdx="1">
    <p:extLst>
      <p:ext uri="{19B8F6BF-5375-455C-9EA6-DF929625EA0E}">
        <p15:presenceInfo xmlns:p15="http://schemas.microsoft.com/office/powerpoint/2012/main" userId="S-1-5-21-1531082355-734649621-3782574898-30036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5E616"/>
    <a:srgbClr val="95E816"/>
    <a:srgbClr val="FFECAF"/>
    <a:srgbClr val="FECC26"/>
    <a:srgbClr val="0098CC"/>
    <a:srgbClr val="74B230"/>
    <a:srgbClr val="F3FCE4"/>
    <a:srgbClr val="FFD1D8"/>
    <a:srgbClr val="FF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8535" autoAdjust="0"/>
  </p:normalViewPr>
  <p:slideViewPr>
    <p:cSldViewPr>
      <p:cViewPr varScale="1">
        <p:scale>
          <a:sx n="72" d="100"/>
          <a:sy n="72" d="100"/>
        </p:scale>
        <p:origin x="5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" Type="http://schemas.openxmlformats.org/officeDocument/2006/relationships/slide" Target="slides/slide3.xml"/><Relationship Id="rId71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viewProps" Target="viewProp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89426A-5260-40E6-8115-ACCCDD54440D}" type="doc">
      <dgm:prSet loTypeId="urn:microsoft.com/office/officeart/2005/8/layout/radial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34ED455-8D5E-4D30-9193-FC0104F126C2}">
      <dgm:prSet phldrT="[Text]"/>
      <dgm:spPr/>
      <dgm:t>
        <a:bodyPr/>
        <a:lstStyle/>
        <a:p>
          <a:r>
            <a:rPr lang="en-US" dirty="0" smtClean="0"/>
            <a:t>Linux</a:t>
          </a:r>
          <a:endParaRPr lang="en-US" dirty="0"/>
        </a:p>
      </dgm:t>
    </dgm:pt>
    <dgm:pt modelId="{767C9D20-A977-478A-8E57-801CA4993677}" type="parTrans" cxnId="{2F421ED9-C0E8-42E4-A0FD-588397A7770E}">
      <dgm:prSet/>
      <dgm:spPr/>
      <dgm:t>
        <a:bodyPr/>
        <a:lstStyle/>
        <a:p>
          <a:endParaRPr lang="en-US"/>
        </a:p>
      </dgm:t>
    </dgm:pt>
    <dgm:pt modelId="{2BA8ADF3-CB38-4133-8DCC-6EF5D09E5862}" type="sibTrans" cxnId="{2F421ED9-C0E8-42E4-A0FD-588397A7770E}">
      <dgm:prSet/>
      <dgm:spPr/>
      <dgm:t>
        <a:bodyPr/>
        <a:lstStyle/>
        <a:p>
          <a:endParaRPr lang="en-US"/>
        </a:p>
      </dgm:t>
    </dgm:pt>
    <dgm:pt modelId="{53A4B96A-F180-4B49-AFD2-94DB7FFB9C9B}">
      <dgm:prSet phldrT="[Text]"/>
      <dgm:spPr/>
      <dgm:t>
        <a:bodyPr/>
        <a:lstStyle/>
        <a:p>
          <a:r>
            <a:rPr lang="en-US" dirty="0" smtClean="0"/>
            <a:t>OS Services</a:t>
          </a:r>
          <a:endParaRPr lang="en-US" dirty="0"/>
        </a:p>
      </dgm:t>
    </dgm:pt>
    <dgm:pt modelId="{DCADD2B7-3928-46C5-A104-E5AC6CA3A77B}" type="parTrans" cxnId="{AB9B6A7C-7F89-4175-99D4-607B769E41B2}">
      <dgm:prSet/>
      <dgm:spPr/>
      <dgm:t>
        <a:bodyPr/>
        <a:lstStyle/>
        <a:p>
          <a:endParaRPr lang="en-US" dirty="0"/>
        </a:p>
      </dgm:t>
    </dgm:pt>
    <dgm:pt modelId="{35308576-4DC1-4E93-85EF-19784D39007C}" type="sibTrans" cxnId="{AB9B6A7C-7F89-4175-99D4-607B769E41B2}">
      <dgm:prSet/>
      <dgm:spPr/>
      <dgm:t>
        <a:bodyPr/>
        <a:lstStyle/>
        <a:p>
          <a:endParaRPr lang="en-US"/>
        </a:p>
      </dgm:t>
    </dgm:pt>
    <dgm:pt modelId="{72011C4C-F70C-4059-8361-9E634F17734A}">
      <dgm:prSet phldrT="[Text]"/>
      <dgm:spPr/>
      <dgm:t>
        <a:bodyPr/>
        <a:lstStyle/>
        <a:p>
          <a:r>
            <a:rPr lang="en-US" dirty="0" smtClean="0"/>
            <a:t>USER Application</a:t>
          </a:r>
          <a:endParaRPr lang="en-US" dirty="0"/>
        </a:p>
      </dgm:t>
    </dgm:pt>
    <dgm:pt modelId="{1799EB3C-DA19-44D4-A1E6-0FA32951E24B}" type="parTrans" cxnId="{EC9EDB6F-9714-4AD4-89DD-EBCD38F0799A}">
      <dgm:prSet/>
      <dgm:spPr/>
      <dgm:t>
        <a:bodyPr/>
        <a:lstStyle/>
        <a:p>
          <a:endParaRPr lang="en-US" dirty="0"/>
        </a:p>
      </dgm:t>
    </dgm:pt>
    <dgm:pt modelId="{52D72FE8-8245-4A6D-9F66-8592CB16B39E}" type="sibTrans" cxnId="{EC9EDB6F-9714-4AD4-89DD-EBCD38F0799A}">
      <dgm:prSet/>
      <dgm:spPr/>
      <dgm:t>
        <a:bodyPr/>
        <a:lstStyle/>
        <a:p>
          <a:endParaRPr lang="en-US"/>
        </a:p>
      </dgm:t>
    </dgm:pt>
    <dgm:pt modelId="{17AB8A0D-C441-4F75-AC89-50AE7EAA3799}">
      <dgm:prSet phldrT="[Text]"/>
      <dgm:spPr/>
      <dgm:t>
        <a:bodyPr/>
        <a:lstStyle/>
        <a:p>
          <a:r>
            <a:rPr lang="en-US" dirty="0" smtClean="0"/>
            <a:t>Linux Kernel </a:t>
          </a:r>
          <a:endParaRPr lang="en-US" dirty="0"/>
        </a:p>
      </dgm:t>
    </dgm:pt>
    <dgm:pt modelId="{62481817-F739-4E66-BB27-C744FDBC2D6D}" type="parTrans" cxnId="{A103B6EC-636B-4DB3-BDAE-A37EED4D98AB}">
      <dgm:prSet/>
      <dgm:spPr/>
      <dgm:t>
        <a:bodyPr/>
        <a:lstStyle/>
        <a:p>
          <a:endParaRPr lang="en-US" dirty="0"/>
        </a:p>
      </dgm:t>
    </dgm:pt>
    <dgm:pt modelId="{00344C43-2183-4465-9361-229AC62FD053}" type="sibTrans" cxnId="{A103B6EC-636B-4DB3-BDAE-A37EED4D98AB}">
      <dgm:prSet/>
      <dgm:spPr/>
      <dgm:t>
        <a:bodyPr/>
        <a:lstStyle/>
        <a:p>
          <a:endParaRPr lang="en-US"/>
        </a:p>
      </dgm:t>
    </dgm:pt>
    <dgm:pt modelId="{5826C839-AEB4-425B-AD34-DCDCB995AE86}">
      <dgm:prSet phldrT="[Text]"/>
      <dgm:spPr/>
      <dgm:t>
        <a:bodyPr/>
        <a:lstStyle/>
        <a:p>
          <a:r>
            <a:rPr lang="en-US" dirty="0" smtClean="0"/>
            <a:t>Hardware Controller</a:t>
          </a:r>
          <a:endParaRPr lang="en-US" dirty="0"/>
        </a:p>
      </dgm:t>
    </dgm:pt>
    <dgm:pt modelId="{54319978-9014-4D45-B48F-6EC33E288897}" type="parTrans" cxnId="{0C0A0CFD-1EFC-4E72-896B-2665B4BEB5AA}">
      <dgm:prSet/>
      <dgm:spPr/>
      <dgm:t>
        <a:bodyPr/>
        <a:lstStyle/>
        <a:p>
          <a:endParaRPr lang="en-US" dirty="0"/>
        </a:p>
      </dgm:t>
    </dgm:pt>
    <dgm:pt modelId="{05B858DB-8492-4B53-8152-E5E896B20DE5}" type="sibTrans" cxnId="{0C0A0CFD-1EFC-4E72-896B-2665B4BEB5AA}">
      <dgm:prSet/>
      <dgm:spPr/>
      <dgm:t>
        <a:bodyPr/>
        <a:lstStyle/>
        <a:p>
          <a:endParaRPr lang="en-US"/>
        </a:p>
      </dgm:t>
    </dgm:pt>
    <dgm:pt modelId="{8A849E06-0B50-4AC8-8281-E3B6D47953A2}" type="pres">
      <dgm:prSet presAssocID="{E789426A-5260-40E6-8115-ACCCDD54440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785FAB-08E8-4433-97CB-3DACD2EB519D}" type="pres">
      <dgm:prSet presAssocID="{334ED455-8D5E-4D30-9193-FC0104F126C2}" presName="centerShape" presStyleLbl="node0" presStyleIdx="0" presStyleCnt="1" custScaleX="109132" custScaleY="121457"/>
      <dgm:spPr/>
      <dgm:t>
        <a:bodyPr/>
        <a:lstStyle/>
        <a:p>
          <a:endParaRPr lang="en-US"/>
        </a:p>
      </dgm:t>
    </dgm:pt>
    <dgm:pt modelId="{60413264-A758-4ED8-9205-058B092C5516}" type="pres">
      <dgm:prSet presAssocID="{DCADD2B7-3928-46C5-A104-E5AC6CA3A77B}" presName="parTrans" presStyleLbl="sibTrans2D1" presStyleIdx="0" presStyleCnt="4"/>
      <dgm:spPr/>
      <dgm:t>
        <a:bodyPr/>
        <a:lstStyle/>
        <a:p>
          <a:endParaRPr lang="en-US"/>
        </a:p>
      </dgm:t>
    </dgm:pt>
    <dgm:pt modelId="{13C296FA-3601-4EBD-87AD-1921D9B05F49}" type="pres">
      <dgm:prSet presAssocID="{DCADD2B7-3928-46C5-A104-E5AC6CA3A77B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A8B3F084-C609-41DF-B7A5-B3D696D8E9F8}" type="pres">
      <dgm:prSet presAssocID="{53A4B96A-F180-4B49-AFD2-94DB7FFB9C9B}" presName="node" presStyleLbl="node1" presStyleIdx="0" presStyleCnt="4" custScaleX="126890" custScaleY="1110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6C9F3-8D91-4C6C-A11D-3D346290ACE1}" type="pres">
      <dgm:prSet presAssocID="{1799EB3C-DA19-44D4-A1E6-0FA32951E24B}" presName="parTrans" presStyleLbl="sibTrans2D1" presStyleIdx="1" presStyleCnt="4"/>
      <dgm:spPr/>
      <dgm:t>
        <a:bodyPr/>
        <a:lstStyle/>
        <a:p>
          <a:endParaRPr lang="en-US"/>
        </a:p>
      </dgm:t>
    </dgm:pt>
    <dgm:pt modelId="{2611BBFA-0640-43D6-A7CD-6D8759B40B2D}" type="pres">
      <dgm:prSet presAssocID="{1799EB3C-DA19-44D4-A1E6-0FA32951E24B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1C81B57A-A34B-4DC2-BF49-77828593C166}" type="pres">
      <dgm:prSet presAssocID="{72011C4C-F70C-4059-8361-9E634F17734A}" presName="node" presStyleLbl="node1" presStyleIdx="1" presStyleCnt="4" custScaleX="135515" custScaleY="121457" custRadScaleRad="122568" custRadScaleInc="1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E43BE-98E9-4AE5-A36E-C4F98A061C56}" type="pres">
      <dgm:prSet presAssocID="{62481817-F739-4E66-BB27-C744FDBC2D6D}" presName="parTrans" presStyleLbl="sibTrans2D1" presStyleIdx="2" presStyleCnt="4"/>
      <dgm:spPr/>
      <dgm:t>
        <a:bodyPr/>
        <a:lstStyle/>
        <a:p>
          <a:endParaRPr lang="en-US"/>
        </a:p>
      </dgm:t>
    </dgm:pt>
    <dgm:pt modelId="{C046D02B-D7EA-421B-9B7D-1DDB3484F2BF}" type="pres">
      <dgm:prSet presAssocID="{62481817-F739-4E66-BB27-C744FDBC2D6D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6D790799-C1A6-4912-A471-85393B0ED93D}" type="pres">
      <dgm:prSet presAssocID="{17AB8A0D-C441-4F75-AC89-50AE7EAA3799}" presName="node" presStyleLbl="node1" presStyleIdx="2" presStyleCnt="4" custScaleX="120574" custScaleY="107732" custRadScaleRad="116720" custRadScaleInc="-26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15B3A4-12E2-481B-BE90-498DFD692BAD}" type="pres">
      <dgm:prSet presAssocID="{54319978-9014-4D45-B48F-6EC33E288897}" presName="parTrans" presStyleLbl="sibTrans2D1" presStyleIdx="3" presStyleCnt="4"/>
      <dgm:spPr/>
      <dgm:t>
        <a:bodyPr/>
        <a:lstStyle/>
        <a:p>
          <a:endParaRPr lang="en-US"/>
        </a:p>
      </dgm:t>
    </dgm:pt>
    <dgm:pt modelId="{D5A6DA9D-BFE4-40C1-B134-4858F3585E5A}" type="pres">
      <dgm:prSet presAssocID="{54319978-9014-4D45-B48F-6EC33E2888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325D8EB-F374-45FF-B488-BDF1EC5AC75D}" type="pres">
      <dgm:prSet presAssocID="{5826C839-AEB4-425B-AD34-DCDCB995AE86}" presName="node" presStyleLbl="node1" presStyleIdx="3" presStyleCnt="4" custScaleX="142832" custScaleY="121457" custRadScaleRad="116410" custRadScaleInc="-12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C587864-12A2-488C-BC50-6E7887D9C39F}" type="presOf" srcId="{5826C839-AEB4-425B-AD34-DCDCB995AE86}" destId="{9325D8EB-F374-45FF-B488-BDF1EC5AC75D}" srcOrd="0" destOrd="0" presId="urn:microsoft.com/office/officeart/2005/8/layout/radial5"/>
    <dgm:cxn modelId="{0C0A0CFD-1EFC-4E72-896B-2665B4BEB5AA}" srcId="{334ED455-8D5E-4D30-9193-FC0104F126C2}" destId="{5826C839-AEB4-425B-AD34-DCDCB995AE86}" srcOrd="3" destOrd="0" parTransId="{54319978-9014-4D45-B48F-6EC33E288897}" sibTransId="{05B858DB-8492-4B53-8152-E5E896B20DE5}"/>
    <dgm:cxn modelId="{2F421ED9-C0E8-42E4-A0FD-588397A7770E}" srcId="{E789426A-5260-40E6-8115-ACCCDD54440D}" destId="{334ED455-8D5E-4D30-9193-FC0104F126C2}" srcOrd="0" destOrd="0" parTransId="{767C9D20-A977-478A-8E57-801CA4993677}" sibTransId="{2BA8ADF3-CB38-4133-8DCC-6EF5D09E5862}"/>
    <dgm:cxn modelId="{375B46DF-B308-4024-97C8-526A1F8D0D73}" type="presOf" srcId="{62481817-F739-4E66-BB27-C744FDBC2D6D}" destId="{C046D02B-D7EA-421B-9B7D-1DDB3484F2BF}" srcOrd="1" destOrd="0" presId="urn:microsoft.com/office/officeart/2005/8/layout/radial5"/>
    <dgm:cxn modelId="{76848582-0F85-4DF7-922A-931406B2EDE5}" type="presOf" srcId="{72011C4C-F70C-4059-8361-9E634F17734A}" destId="{1C81B57A-A34B-4DC2-BF49-77828593C166}" srcOrd="0" destOrd="0" presId="urn:microsoft.com/office/officeart/2005/8/layout/radial5"/>
    <dgm:cxn modelId="{EC9EDB6F-9714-4AD4-89DD-EBCD38F0799A}" srcId="{334ED455-8D5E-4D30-9193-FC0104F126C2}" destId="{72011C4C-F70C-4059-8361-9E634F17734A}" srcOrd="1" destOrd="0" parTransId="{1799EB3C-DA19-44D4-A1E6-0FA32951E24B}" sibTransId="{52D72FE8-8245-4A6D-9F66-8592CB16B39E}"/>
    <dgm:cxn modelId="{E731E8E8-6A1B-46AB-B944-2EE9295FE585}" type="presOf" srcId="{DCADD2B7-3928-46C5-A104-E5AC6CA3A77B}" destId="{60413264-A758-4ED8-9205-058B092C5516}" srcOrd="0" destOrd="0" presId="urn:microsoft.com/office/officeart/2005/8/layout/radial5"/>
    <dgm:cxn modelId="{FC57060C-1D14-4FBE-A7A9-557F7D3A6D57}" type="presOf" srcId="{17AB8A0D-C441-4F75-AC89-50AE7EAA3799}" destId="{6D790799-C1A6-4912-A471-85393B0ED93D}" srcOrd="0" destOrd="0" presId="urn:microsoft.com/office/officeart/2005/8/layout/radial5"/>
    <dgm:cxn modelId="{9E7CEFB5-606C-4A82-9B75-2CA3DC0E22AA}" type="presOf" srcId="{53A4B96A-F180-4B49-AFD2-94DB7FFB9C9B}" destId="{A8B3F084-C609-41DF-B7A5-B3D696D8E9F8}" srcOrd="0" destOrd="0" presId="urn:microsoft.com/office/officeart/2005/8/layout/radial5"/>
    <dgm:cxn modelId="{00D2FA10-9E97-4010-8AC9-429182CAB5EE}" type="presOf" srcId="{334ED455-8D5E-4D30-9193-FC0104F126C2}" destId="{49785FAB-08E8-4433-97CB-3DACD2EB519D}" srcOrd="0" destOrd="0" presId="urn:microsoft.com/office/officeart/2005/8/layout/radial5"/>
    <dgm:cxn modelId="{A103B6EC-636B-4DB3-BDAE-A37EED4D98AB}" srcId="{334ED455-8D5E-4D30-9193-FC0104F126C2}" destId="{17AB8A0D-C441-4F75-AC89-50AE7EAA3799}" srcOrd="2" destOrd="0" parTransId="{62481817-F739-4E66-BB27-C744FDBC2D6D}" sibTransId="{00344C43-2183-4465-9361-229AC62FD053}"/>
    <dgm:cxn modelId="{F79C3AC1-3536-443A-A25D-D6F8CB5C105A}" type="presOf" srcId="{DCADD2B7-3928-46C5-A104-E5AC6CA3A77B}" destId="{13C296FA-3601-4EBD-87AD-1921D9B05F49}" srcOrd="1" destOrd="0" presId="urn:microsoft.com/office/officeart/2005/8/layout/radial5"/>
    <dgm:cxn modelId="{B283548F-502E-4F1F-8BCE-0C6A530FF24A}" type="presOf" srcId="{62481817-F739-4E66-BB27-C744FDBC2D6D}" destId="{97BE43BE-98E9-4AE5-A36E-C4F98A061C56}" srcOrd="0" destOrd="0" presId="urn:microsoft.com/office/officeart/2005/8/layout/radial5"/>
    <dgm:cxn modelId="{9619B515-F6F5-481B-9142-356B3CD87D58}" type="presOf" srcId="{1799EB3C-DA19-44D4-A1E6-0FA32951E24B}" destId="{5FD6C9F3-8D91-4C6C-A11D-3D346290ACE1}" srcOrd="0" destOrd="0" presId="urn:microsoft.com/office/officeart/2005/8/layout/radial5"/>
    <dgm:cxn modelId="{AF1C2FF3-310A-488C-8B10-4BCE2F0DD056}" type="presOf" srcId="{54319978-9014-4D45-B48F-6EC33E288897}" destId="{8A15B3A4-12E2-481B-BE90-498DFD692BAD}" srcOrd="0" destOrd="0" presId="urn:microsoft.com/office/officeart/2005/8/layout/radial5"/>
    <dgm:cxn modelId="{AB9B6A7C-7F89-4175-99D4-607B769E41B2}" srcId="{334ED455-8D5E-4D30-9193-FC0104F126C2}" destId="{53A4B96A-F180-4B49-AFD2-94DB7FFB9C9B}" srcOrd="0" destOrd="0" parTransId="{DCADD2B7-3928-46C5-A104-E5AC6CA3A77B}" sibTransId="{35308576-4DC1-4E93-85EF-19784D39007C}"/>
    <dgm:cxn modelId="{BE7F5C3F-AC20-428D-973C-88C1F469168B}" type="presOf" srcId="{E789426A-5260-40E6-8115-ACCCDD54440D}" destId="{8A849E06-0B50-4AC8-8281-E3B6D47953A2}" srcOrd="0" destOrd="0" presId="urn:microsoft.com/office/officeart/2005/8/layout/radial5"/>
    <dgm:cxn modelId="{C073A692-AAC6-4812-A8D6-4974A07475A1}" type="presOf" srcId="{1799EB3C-DA19-44D4-A1E6-0FA32951E24B}" destId="{2611BBFA-0640-43D6-A7CD-6D8759B40B2D}" srcOrd="1" destOrd="0" presId="urn:microsoft.com/office/officeart/2005/8/layout/radial5"/>
    <dgm:cxn modelId="{257BAB38-6DEB-48AF-8CAD-23E1DD77E6B8}" type="presOf" srcId="{54319978-9014-4D45-B48F-6EC33E288897}" destId="{D5A6DA9D-BFE4-40C1-B134-4858F3585E5A}" srcOrd="1" destOrd="0" presId="urn:microsoft.com/office/officeart/2005/8/layout/radial5"/>
    <dgm:cxn modelId="{0894CD85-8EDA-44BF-A9B5-1EA44F4E7380}" type="presParOf" srcId="{8A849E06-0B50-4AC8-8281-E3B6D47953A2}" destId="{49785FAB-08E8-4433-97CB-3DACD2EB519D}" srcOrd="0" destOrd="0" presId="urn:microsoft.com/office/officeart/2005/8/layout/radial5"/>
    <dgm:cxn modelId="{0D2CB37E-6507-446E-B8AE-9C72679C1BA0}" type="presParOf" srcId="{8A849E06-0B50-4AC8-8281-E3B6D47953A2}" destId="{60413264-A758-4ED8-9205-058B092C5516}" srcOrd="1" destOrd="0" presId="urn:microsoft.com/office/officeart/2005/8/layout/radial5"/>
    <dgm:cxn modelId="{99ACD579-4E0E-4F70-84E3-00471D2510FE}" type="presParOf" srcId="{60413264-A758-4ED8-9205-058B092C5516}" destId="{13C296FA-3601-4EBD-87AD-1921D9B05F49}" srcOrd="0" destOrd="0" presId="urn:microsoft.com/office/officeart/2005/8/layout/radial5"/>
    <dgm:cxn modelId="{D5C782CA-AEDA-42D7-AC5C-623419241672}" type="presParOf" srcId="{8A849E06-0B50-4AC8-8281-E3B6D47953A2}" destId="{A8B3F084-C609-41DF-B7A5-B3D696D8E9F8}" srcOrd="2" destOrd="0" presId="urn:microsoft.com/office/officeart/2005/8/layout/radial5"/>
    <dgm:cxn modelId="{D2D1C87E-1505-45EF-BB66-439E7C99B60C}" type="presParOf" srcId="{8A849E06-0B50-4AC8-8281-E3B6D47953A2}" destId="{5FD6C9F3-8D91-4C6C-A11D-3D346290ACE1}" srcOrd="3" destOrd="0" presId="urn:microsoft.com/office/officeart/2005/8/layout/radial5"/>
    <dgm:cxn modelId="{D93F1F29-6418-4590-86B6-F70CC26814B5}" type="presParOf" srcId="{5FD6C9F3-8D91-4C6C-A11D-3D346290ACE1}" destId="{2611BBFA-0640-43D6-A7CD-6D8759B40B2D}" srcOrd="0" destOrd="0" presId="urn:microsoft.com/office/officeart/2005/8/layout/radial5"/>
    <dgm:cxn modelId="{70EE71E1-6497-41D0-A802-B8A2233B6776}" type="presParOf" srcId="{8A849E06-0B50-4AC8-8281-E3B6D47953A2}" destId="{1C81B57A-A34B-4DC2-BF49-77828593C166}" srcOrd="4" destOrd="0" presId="urn:microsoft.com/office/officeart/2005/8/layout/radial5"/>
    <dgm:cxn modelId="{EFADF79D-2F3F-45AA-81EA-C7D10F44FC4C}" type="presParOf" srcId="{8A849E06-0B50-4AC8-8281-E3B6D47953A2}" destId="{97BE43BE-98E9-4AE5-A36E-C4F98A061C56}" srcOrd="5" destOrd="0" presId="urn:microsoft.com/office/officeart/2005/8/layout/radial5"/>
    <dgm:cxn modelId="{FDD0FFF5-0E05-450D-97AF-E4101C9F198E}" type="presParOf" srcId="{97BE43BE-98E9-4AE5-A36E-C4F98A061C56}" destId="{C046D02B-D7EA-421B-9B7D-1DDB3484F2BF}" srcOrd="0" destOrd="0" presId="urn:microsoft.com/office/officeart/2005/8/layout/radial5"/>
    <dgm:cxn modelId="{2C52EBD7-9244-4771-8BA5-6519CAEFAABA}" type="presParOf" srcId="{8A849E06-0B50-4AC8-8281-E3B6D47953A2}" destId="{6D790799-C1A6-4912-A471-85393B0ED93D}" srcOrd="6" destOrd="0" presId="urn:microsoft.com/office/officeart/2005/8/layout/radial5"/>
    <dgm:cxn modelId="{EC4D5665-E1C9-4B24-98BD-E42E0ADCBBB0}" type="presParOf" srcId="{8A849E06-0B50-4AC8-8281-E3B6D47953A2}" destId="{8A15B3A4-12E2-481B-BE90-498DFD692BAD}" srcOrd="7" destOrd="0" presId="urn:microsoft.com/office/officeart/2005/8/layout/radial5"/>
    <dgm:cxn modelId="{3437B1D7-0AA0-4790-BC5C-11DF0793C898}" type="presParOf" srcId="{8A15B3A4-12E2-481B-BE90-498DFD692BAD}" destId="{D5A6DA9D-BFE4-40C1-B134-4858F3585E5A}" srcOrd="0" destOrd="0" presId="urn:microsoft.com/office/officeart/2005/8/layout/radial5"/>
    <dgm:cxn modelId="{D055E9CC-8794-4770-9E75-0FC9A49014F3}" type="presParOf" srcId="{8A849E06-0B50-4AC8-8281-E3B6D47953A2}" destId="{9325D8EB-F374-45FF-B488-BDF1EC5AC75D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37E9A5-F1EA-49E1-A0EB-A9D5468B0C04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7AAD96-7A4D-4A9D-8F48-36B4D2B19815}">
      <dgm:prSet phldrT="[Text]"/>
      <dgm:spPr/>
      <dgm:t>
        <a:bodyPr/>
        <a:lstStyle/>
        <a:p>
          <a:r>
            <a:rPr lang="en-US" dirty="0" smtClean="0"/>
            <a:t>Device Management</a:t>
          </a:r>
          <a:endParaRPr lang="en-US" dirty="0"/>
        </a:p>
      </dgm:t>
    </dgm:pt>
    <dgm:pt modelId="{BC892D52-F849-4294-A53E-92FEC9648B29}" type="parTrans" cxnId="{9512C65D-1C01-43E5-9AE3-C6A1660D6A46}">
      <dgm:prSet/>
      <dgm:spPr/>
      <dgm:t>
        <a:bodyPr/>
        <a:lstStyle/>
        <a:p>
          <a:endParaRPr lang="en-US"/>
        </a:p>
      </dgm:t>
    </dgm:pt>
    <dgm:pt modelId="{58035D62-9D8E-4380-944A-F46D0FB4ED28}" type="sibTrans" cxnId="{9512C65D-1C01-43E5-9AE3-C6A1660D6A46}">
      <dgm:prSet/>
      <dgm:spPr/>
      <dgm:t>
        <a:bodyPr/>
        <a:lstStyle/>
        <a:p>
          <a:endParaRPr lang="en-US"/>
        </a:p>
      </dgm:t>
    </dgm:pt>
    <dgm:pt modelId="{CB354A0C-A3D8-4DE8-BD12-976DB95B1AE0}">
      <dgm:prSet phldrT="[Text]"/>
      <dgm:spPr/>
      <dgm:t>
        <a:bodyPr/>
        <a:lstStyle/>
        <a:p>
          <a:r>
            <a:rPr lang="en-US" dirty="0" smtClean="0"/>
            <a:t>Block Device</a:t>
          </a:r>
          <a:endParaRPr lang="en-US" dirty="0"/>
        </a:p>
      </dgm:t>
    </dgm:pt>
    <dgm:pt modelId="{42DB07BF-C8EC-43D0-95B6-BC8ED5ACB830}" type="parTrans" cxnId="{BCA38A6F-68EC-4522-A9D9-D4B0E720482F}">
      <dgm:prSet/>
      <dgm:spPr/>
      <dgm:t>
        <a:bodyPr/>
        <a:lstStyle/>
        <a:p>
          <a:endParaRPr lang="en-US"/>
        </a:p>
      </dgm:t>
    </dgm:pt>
    <dgm:pt modelId="{121D2DED-F16D-4CE5-AFF8-121E53A6967D}" type="sibTrans" cxnId="{BCA38A6F-68EC-4522-A9D9-D4B0E720482F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94662588-A443-44CE-AE80-AAC1DED9DB16}">
      <dgm:prSet phldrT="[Text]"/>
      <dgm:spPr/>
      <dgm:t>
        <a:bodyPr/>
        <a:lstStyle/>
        <a:p>
          <a:r>
            <a:rPr lang="en-US" dirty="0" smtClean="0"/>
            <a:t>Character Device </a:t>
          </a:r>
          <a:endParaRPr lang="en-US" dirty="0"/>
        </a:p>
      </dgm:t>
    </dgm:pt>
    <dgm:pt modelId="{650789A4-6ABC-4CE8-AA6E-AD048D7C59D2}" type="parTrans" cxnId="{878787B0-C90C-46E6-A0EC-1FC125520E0F}">
      <dgm:prSet/>
      <dgm:spPr/>
      <dgm:t>
        <a:bodyPr/>
        <a:lstStyle/>
        <a:p>
          <a:endParaRPr lang="en-US"/>
        </a:p>
      </dgm:t>
    </dgm:pt>
    <dgm:pt modelId="{3F314AC3-F325-4CD2-91A4-AD2D8E2D691D}" type="sibTrans" cxnId="{878787B0-C90C-46E6-A0EC-1FC125520E0F}">
      <dgm:prSet/>
      <dgm:spPr/>
      <dgm:t>
        <a:bodyPr/>
        <a:lstStyle/>
        <a:p>
          <a:endParaRPr lang="en-US"/>
        </a:p>
      </dgm:t>
    </dgm:pt>
    <dgm:pt modelId="{85467EF4-85AA-476E-8A58-07E2B58C7C15}" type="pres">
      <dgm:prSet presAssocID="{9237E9A5-F1EA-49E1-A0EB-A9D5468B0C0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DE51143-86F1-4CDB-88E9-6664EC088D2B}" type="pres">
      <dgm:prSet presAssocID="{717AAD96-7A4D-4A9D-8F48-36B4D2B19815}" presName="node" presStyleLbl="node1" presStyleIdx="0" presStyleCnt="3" custScaleX="1278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2E88C2-FD69-4465-8EEB-821CF1B16D5A}" type="pres">
      <dgm:prSet presAssocID="{58035D62-9D8E-4380-944A-F46D0FB4ED28}" presName="sibTrans" presStyleLbl="sibTrans2D1" presStyleIdx="0" presStyleCnt="3" custScaleX="265846" custScaleY="114121"/>
      <dgm:spPr/>
      <dgm:t>
        <a:bodyPr/>
        <a:lstStyle/>
        <a:p>
          <a:endParaRPr lang="en-US"/>
        </a:p>
      </dgm:t>
    </dgm:pt>
    <dgm:pt modelId="{A730B558-FCCC-433D-83C0-F5DD6F1291E5}" type="pres">
      <dgm:prSet presAssocID="{58035D62-9D8E-4380-944A-F46D0FB4ED28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65788452-4BE9-49FD-A139-51284C668080}" type="pres">
      <dgm:prSet presAssocID="{CB354A0C-A3D8-4DE8-BD12-976DB95B1AE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F24591-C92F-4D28-BB99-E3D217AE926C}" type="pres">
      <dgm:prSet presAssocID="{121D2DED-F16D-4CE5-AFF8-121E53A6967D}" presName="sibTrans" presStyleLbl="sibTrans2D1" presStyleIdx="1" presStyleCnt="3"/>
      <dgm:spPr/>
      <dgm:t>
        <a:bodyPr/>
        <a:lstStyle/>
        <a:p>
          <a:endParaRPr lang="en-US"/>
        </a:p>
      </dgm:t>
    </dgm:pt>
    <dgm:pt modelId="{B6E7C64C-977C-4D53-B0FF-93AAC91C6349}" type="pres">
      <dgm:prSet presAssocID="{121D2DED-F16D-4CE5-AFF8-121E53A6967D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AAEE297A-253E-409B-8C98-AF40FA47262A}" type="pres">
      <dgm:prSet presAssocID="{94662588-A443-44CE-AE80-AAC1DED9DB16}" presName="node" presStyleLbl="node1" presStyleIdx="2" presStyleCnt="3" custScaleX="1430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033CE0-6666-4782-B805-6F90415335CB}" type="pres">
      <dgm:prSet presAssocID="{3F314AC3-F325-4CD2-91A4-AD2D8E2D691D}" presName="sibTrans" presStyleLbl="sibTrans2D1" presStyleIdx="2" presStyleCnt="3" custScaleX="256492" custScaleY="92813"/>
      <dgm:spPr/>
      <dgm:t>
        <a:bodyPr/>
        <a:lstStyle/>
        <a:p>
          <a:endParaRPr lang="en-US"/>
        </a:p>
      </dgm:t>
    </dgm:pt>
    <dgm:pt modelId="{ADB7F65F-F7A4-426D-A905-9A7B987FA094}" type="pres">
      <dgm:prSet presAssocID="{3F314AC3-F325-4CD2-91A4-AD2D8E2D691D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C6272CE8-AAC9-4C8F-BE5E-6E80677A4A3B}" type="presOf" srcId="{CB354A0C-A3D8-4DE8-BD12-976DB95B1AE0}" destId="{65788452-4BE9-49FD-A139-51284C668080}" srcOrd="0" destOrd="0" presId="urn:microsoft.com/office/officeart/2005/8/layout/cycle7"/>
    <dgm:cxn modelId="{06EF746A-DD15-49F2-BF93-2D94846D0B07}" type="presOf" srcId="{9237E9A5-F1EA-49E1-A0EB-A9D5468B0C04}" destId="{85467EF4-85AA-476E-8A58-07E2B58C7C15}" srcOrd="0" destOrd="0" presId="urn:microsoft.com/office/officeart/2005/8/layout/cycle7"/>
    <dgm:cxn modelId="{878787B0-C90C-46E6-A0EC-1FC125520E0F}" srcId="{9237E9A5-F1EA-49E1-A0EB-A9D5468B0C04}" destId="{94662588-A443-44CE-AE80-AAC1DED9DB16}" srcOrd="2" destOrd="0" parTransId="{650789A4-6ABC-4CE8-AA6E-AD048D7C59D2}" sibTransId="{3F314AC3-F325-4CD2-91A4-AD2D8E2D691D}"/>
    <dgm:cxn modelId="{BCA38A6F-68EC-4522-A9D9-D4B0E720482F}" srcId="{9237E9A5-F1EA-49E1-A0EB-A9D5468B0C04}" destId="{CB354A0C-A3D8-4DE8-BD12-976DB95B1AE0}" srcOrd="1" destOrd="0" parTransId="{42DB07BF-C8EC-43D0-95B6-BC8ED5ACB830}" sibTransId="{121D2DED-F16D-4CE5-AFF8-121E53A6967D}"/>
    <dgm:cxn modelId="{CC257CCD-08F6-4181-AE9A-45108ABD05FD}" type="presOf" srcId="{121D2DED-F16D-4CE5-AFF8-121E53A6967D}" destId="{10F24591-C92F-4D28-BB99-E3D217AE926C}" srcOrd="0" destOrd="0" presId="urn:microsoft.com/office/officeart/2005/8/layout/cycle7"/>
    <dgm:cxn modelId="{72CC103F-6A98-446B-81DF-14C9ED7155D3}" type="presOf" srcId="{121D2DED-F16D-4CE5-AFF8-121E53A6967D}" destId="{B6E7C64C-977C-4D53-B0FF-93AAC91C6349}" srcOrd="1" destOrd="0" presId="urn:microsoft.com/office/officeart/2005/8/layout/cycle7"/>
    <dgm:cxn modelId="{470B7388-4AB6-431C-9569-D54D775D3253}" type="presOf" srcId="{58035D62-9D8E-4380-944A-F46D0FB4ED28}" destId="{4D2E88C2-FD69-4465-8EEB-821CF1B16D5A}" srcOrd="0" destOrd="0" presId="urn:microsoft.com/office/officeart/2005/8/layout/cycle7"/>
    <dgm:cxn modelId="{17CF0D37-EE54-4F66-B4DC-5122384BAF90}" type="presOf" srcId="{717AAD96-7A4D-4A9D-8F48-36B4D2B19815}" destId="{8DE51143-86F1-4CDB-88E9-6664EC088D2B}" srcOrd="0" destOrd="0" presId="urn:microsoft.com/office/officeart/2005/8/layout/cycle7"/>
    <dgm:cxn modelId="{A2B6E8F4-0A2E-4B93-8206-7A64FF412E1B}" type="presOf" srcId="{94662588-A443-44CE-AE80-AAC1DED9DB16}" destId="{AAEE297A-253E-409B-8C98-AF40FA47262A}" srcOrd="0" destOrd="0" presId="urn:microsoft.com/office/officeart/2005/8/layout/cycle7"/>
    <dgm:cxn modelId="{60F87222-8378-4FC8-B3BC-DC7D5BC07D0B}" type="presOf" srcId="{3F314AC3-F325-4CD2-91A4-AD2D8E2D691D}" destId="{CB033CE0-6666-4782-B805-6F90415335CB}" srcOrd="0" destOrd="0" presId="urn:microsoft.com/office/officeart/2005/8/layout/cycle7"/>
    <dgm:cxn modelId="{C0D23BA4-1163-481C-A4EF-06FB18C7E486}" type="presOf" srcId="{3F314AC3-F325-4CD2-91A4-AD2D8E2D691D}" destId="{ADB7F65F-F7A4-426D-A905-9A7B987FA094}" srcOrd="1" destOrd="0" presId="urn:microsoft.com/office/officeart/2005/8/layout/cycle7"/>
    <dgm:cxn modelId="{9512C65D-1C01-43E5-9AE3-C6A1660D6A46}" srcId="{9237E9A5-F1EA-49E1-A0EB-A9D5468B0C04}" destId="{717AAD96-7A4D-4A9D-8F48-36B4D2B19815}" srcOrd="0" destOrd="0" parTransId="{BC892D52-F849-4294-A53E-92FEC9648B29}" sibTransId="{58035D62-9D8E-4380-944A-F46D0FB4ED28}"/>
    <dgm:cxn modelId="{947C195C-0B4D-4172-99F3-3DF3F189DA2C}" type="presOf" srcId="{58035D62-9D8E-4380-944A-F46D0FB4ED28}" destId="{A730B558-FCCC-433D-83C0-F5DD6F1291E5}" srcOrd="1" destOrd="0" presId="urn:microsoft.com/office/officeart/2005/8/layout/cycle7"/>
    <dgm:cxn modelId="{492553D7-CF4A-44A6-8784-E72FA36CEB0B}" type="presParOf" srcId="{85467EF4-85AA-476E-8A58-07E2B58C7C15}" destId="{8DE51143-86F1-4CDB-88E9-6664EC088D2B}" srcOrd="0" destOrd="0" presId="urn:microsoft.com/office/officeart/2005/8/layout/cycle7"/>
    <dgm:cxn modelId="{A15B7578-9E4F-495E-B4D2-FD21EBD64AC3}" type="presParOf" srcId="{85467EF4-85AA-476E-8A58-07E2B58C7C15}" destId="{4D2E88C2-FD69-4465-8EEB-821CF1B16D5A}" srcOrd="1" destOrd="0" presId="urn:microsoft.com/office/officeart/2005/8/layout/cycle7"/>
    <dgm:cxn modelId="{8B500479-09AB-48B7-AA50-89E4C3C45B1E}" type="presParOf" srcId="{4D2E88C2-FD69-4465-8EEB-821CF1B16D5A}" destId="{A730B558-FCCC-433D-83C0-F5DD6F1291E5}" srcOrd="0" destOrd="0" presId="urn:microsoft.com/office/officeart/2005/8/layout/cycle7"/>
    <dgm:cxn modelId="{CD16C67D-7D5C-4632-BEF3-FCD000032CD8}" type="presParOf" srcId="{85467EF4-85AA-476E-8A58-07E2B58C7C15}" destId="{65788452-4BE9-49FD-A139-51284C668080}" srcOrd="2" destOrd="0" presId="urn:microsoft.com/office/officeart/2005/8/layout/cycle7"/>
    <dgm:cxn modelId="{B69A76E9-72ED-4CDE-84E3-81233AB27AFD}" type="presParOf" srcId="{85467EF4-85AA-476E-8A58-07E2B58C7C15}" destId="{10F24591-C92F-4D28-BB99-E3D217AE926C}" srcOrd="3" destOrd="0" presId="urn:microsoft.com/office/officeart/2005/8/layout/cycle7"/>
    <dgm:cxn modelId="{A922ABFB-6A3C-48DB-ACA8-3E3BA6F9E1C8}" type="presParOf" srcId="{10F24591-C92F-4D28-BB99-E3D217AE926C}" destId="{B6E7C64C-977C-4D53-B0FF-93AAC91C6349}" srcOrd="0" destOrd="0" presId="urn:microsoft.com/office/officeart/2005/8/layout/cycle7"/>
    <dgm:cxn modelId="{E3F905C5-FDC8-43EF-8F0A-56319A109205}" type="presParOf" srcId="{85467EF4-85AA-476E-8A58-07E2B58C7C15}" destId="{AAEE297A-253E-409B-8C98-AF40FA47262A}" srcOrd="4" destOrd="0" presId="urn:microsoft.com/office/officeart/2005/8/layout/cycle7"/>
    <dgm:cxn modelId="{BC83322F-D816-4035-9E2C-A19536935895}" type="presParOf" srcId="{85467EF4-85AA-476E-8A58-07E2B58C7C15}" destId="{CB033CE0-6666-4782-B805-6F90415335CB}" srcOrd="5" destOrd="0" presId="urn:microsoft.com/office/officeart/2005/8/layout/cycle7"/>
    <dgm:cxn modelId="{48D68C6A-6BA7-4E85-85B5-907DDB7BFDB7}" type="presParOf" srcId="{CB033CE0-6666-4782-B805-6F90415335CB}" destId="{ADB7F65F-F7A4-426D-A905-9A7B987FA094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6B4834-D243-43D3-B7AA-F1B2F51971C8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E0A048-20B7-4108-B671-E43D052E5E5A}">
      <dgm:prSet phldrT="[Text]" custT="1"/>
      <dgm:spPr/>
      <dgm:t>
        <a:bodyPr/>
        <a:lstStyle/>
        <a:p>
          <a:r>
            <a:rPr lang="en-US" sz="1100" dirty="0" smtClean="0"/>
            <a:t>Memory Management </a:t>
          </a:r>
          <a:endParaRPr lang="en-US" sz="1100" dirty="0"/>
        </a:p>
      </dgm:t>
    </dgm:pt>
    <dgm:pt modelId="{A1F58AD5-0A76-4C18-BF90-D78F3762F3D3}" type="parTrans" cxnId="{7BFBD10D-4F8F-4908-94AC-3E845CD71AA2}">
      <dgm:prSet/>
      <dgm:spPr/>
      <dgm:t>
        <a:bodyPr/>
        <a:lstStyle/>
        <a:p>
          <a:endParaRPr lang="en-US"/>
        </a:p>
      </dgm:t>
    </dgm:pt>
    <dgm:pt modelId="{6FC4F981-0731-47C5-A123-4E10423FA50B}" type="sibTrans" cxnId="{7BFBD10D-4F8F-4908-94AC-3E845CD71AA2}">
      <dgm:prSet/>
      <dgm:spPr/>
      <dgm:t>
        <a:bodyPr/>
        <a:lstStyle/>
        <a:p>
          <a:endParaRPr lang="en-US"/>
        </a:p>
      </dgm:t>
    </dgm:pt>
    <dgm:pt modelId="{8C1DBFB2-322F-426D-9075-748120BD624D}">
      <dgm:prSet phldrT="[Text]"/>
      <dgm:spPr/>
      <dgm:t>
        <a:bodyPr/>
        <a:lstStyle/>
        <a:p>
          <a:r>
            <a:rPr lang="en-US" dirty="0" smtClean="0"/>
            <a:t>Buddy System</a:t>
          </a:r>
          <a:endParaRPr lang="en-US" dirty="0"/>
        </a:p>
      </dgm:t>
    </dgm:pt>
    <dgm:pt modelId="{01447DB6-3E9D-4E80-A19F-8668A9E24D21}" type="parTrans" cxnId="{986810C4-0072-437A-A66A-483571330730}">
      <dgm:prSet/>
      <dgm:spPr/>
      <dgm:t>
        <a:bodyPr/>
        <a:lstStyle/>
        <a:p>
          <a:endParaRPr lang="en-US"/>
        </a:p>
      </dgm:t>
    </dgm:pt>
    <dgm:pt modelId="{1AEBE758-6995-4D0B-B3C9-4A627C018CA0}" type="sibTrans" cxnId="{986810C4-0072-437A-A66A-483571330730}">
      <dgm:prSet/>
      <dgm:spPr/>
      <dgm:t>
        <a:bodyPr/>
        <a:lstStyle/>
        <a:p>
          <a:endParaRPr lang="en-US"/>
        </a:p>
      </dgm:t>
    </dgm:pt>
    <dgm:pt modelId="{BAF5DCD5-2AE3-4740-9D4E-E2F6CB383128}">
      <dgm:prSet phldrT="[Text]"/>
      <dgm:spPr/>
      <dgm:t>
        <a:bodyPr/>
        <a:lstStyle/>
        <a:p>
          <a:r>
            <a:rPr lang="en-US" dirty="0" smtClean="0"/>
            <a:t>LRU</a:t>
          </a:r>
          <a:endParaRPr lang="en-US" dirty="0"/>
        </a:p>
      </dgm:t>
    </dgm:pt>
    <dgm:pt modelId="{E286FA02-C4DA-4998-83FC-E2E552B77CDA}" type="parTrans" cxnId="{A2AE62E0-0039-4F17-A5FE-7E1E0A23CE8B}">
      <dgm:prSet/>
      <dgm:spPr/>
      <dgm:t>
        <a:bodyPr/>
        <a:lstStyle/>
        <a:p>
          <a:endParaRPr lang="en-US"/>
        </a:p>
      </dgm:t>
    </dgm:pt>
    <dgm:pt modelId="{D2E04A0C-5016-4873-90F5-42771CA4C2B4}" type="sibTrans" cxnId="{A2AE62E0-0039-4F17-A5FE-7E1E0A23CE8B}">
      <dgm:prSet/>
      <dgm:spPr/>
      <dgm:t>
        <a:bodyPr/>
        <a:lstStyle/>
        <a:p>
          <a:endParaRPr lang="en-US"/>
        </a:p>
      </dgm:t>
    </dgm:pt>
    <dgm:pt modelId="{B4A0071D-B500-44F1-AAC8-E2B504CD7AD8}" type="pres">
      <dgm:prSet presAssocID="{116B4834-D243-43D3-B7AA-F1B2F51971C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A9F5EE1-100B-4010-8E81-F884437A4C53}" type="pres">
      <dgm:prSet presAssocID="{7EE0A048-20B7-4108-B671-E43D052E5E5A}" presName="centerShape" presStyleLbl="node0" presStyleIdx="0" presStyleCnt="1"/>
      <dgm:spPr/>
      <dgm:t>
        <a:bodyPr/>
        <a:lstStyle/>
        <a:p>
          <a:endParaRPr lang="en-US"/>
        </a:p>
      </dgm:t>
    </dgm:pt>
    <dgm:pt modelId="{34B55A89-74DA-4109-A603-93E27CD2EF30}" type="pres">
      <dgm:prSet presAssocID="{01447DB6-3E9D-4E80-A19F-8668A9E24D21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DF88E63-24BE-4528-8F35-301BBF075C44}" type="pres">
      <dgm:prSet presAssocID="{8C1DBFB2-322F-426D-9075-748120BD624D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657F35-32BD-4DA9-A6D4-4EACECE3F9AC}" type="pres">
      <dgm:prSet presAssocID="{E286FA02-C4DA-4998-83FC-E2E552B77CD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7F6307FB-E60E-40B4-B22B-D715E3BD6A5B}" type="pres">
      <dgm:prSet presAssocID="{BAF5DCD5-2AE3-4740-9D4E-E2F6CB383128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FBD10D-4F8F-4908-94AC-3E845CD71AA2}" srcId="{116B4834-D243-43D3-B7AA-F1B2F51971C8}" destId="{7EE0A048-20B7-4108-B671-E43D052E5E5A}" srcOrd="0" destOrd="0" parTransId="{A1F58AD5-0A76-4C18-BF90-D78F3762F3D3}" sibTransId="{6FC4F981-0731-47C5-A123-4E10423FA50B}"/>
    <dgm:cxn modelId="{986810C4-0072-437A-A66A-483571330730}" srcId="{7EE0A048-20B7-4108-B671-E43D052E5E5A}" destId="{8C1DBFB2-322F-426D-9075-748120BD624D}" srcOrd="0" destOrd="0" parTransId="{01447DB6-3E9D-4E80-A19F-8668A9E24D21}" sibTransId="{1AEBE758-6995-4D0B-B3C9-4A627C018CA0}"/>
    <dgm:cxn modelId="{0239968E-31EA-4B9F-A945-1D74396FFC67}" type="presOf" srcId="{7EE0A048-20B7-4108-B671-E43D052E5E5A}" destId="{6A9F5EE1-100B-4010-8E81-F884437A4C53}" srcOrd="0" destOrd="0" presId="urn:microsoft.com/office/officeart/2005/8/layout/radial4"/>
    <dgm:cxn modelId="{B05E392B-A420-40C6-B888-058081DF19C3}" type="presOf" srcId="{8C1DBFB2-322F-426D-9075-748120BD624D}" destId="{ADF88E63-24BE-4528-8F35-301BBF075C44}" srcOrd="0" destOrd="0" presId="urn:microsoft.com/office/officeart/2005/8/layout/radial4"/>
    <dgm:cxn modelId="{12AFEB91-4B01-48A5-A071-E8705AF38B37}" type="presOf" srcId="{E286FA02-C4DA-4998-83FC-E2E552B77CDA}" destId="{11657F35-32BD-4DA9-A6D4-4EACECE3F9AC}" srcOrd="0" destOrd="0" presId="urn:microsoft.com/office/officeart/2005/8/layout/radial4"/>
    <dgm:cxn modelId="{E5A3B6E7-7569-4C63-85A8-66D63FB441DF}" type="presOf" srcId="{116B4834-D243-43D3-B7AA-F1B2F51971C8}" destId="{B4A0071D-B500-44F1-AAC8-E2B504CD7AD8}" srcOrd="0" destOrd="0" presId="urn:microsoft.com/office/officeart/2005/8/layout/radial4"/>
    <dgm:cxn modelId="{269CE77B-072F-4731-81E4-461D85F8AF9D}" type="presOf" srcId="{BAF5DCD5-2AE3-4740-9D4E-E2F6CB383128}" destId="{7F6307FB-E60E-40B4-B22B-D715E3BD6A5B}" srcOrd="0" destOrd="0" presId="urn:microsoft.com/office/officeart/2005/8/layout/radial4"/>
    <dgm:cxn modelId="{A2AE62E0-0039-4F17-A5FE-7E1E0A23CE8B}" srcId="{7EE0A048-20B7-4108-B671-E43D052E5E5A}" destId="{BAF5DCD5-2AE3-4740-9D4E-E2F6CB383128}" srcOrd="1" destOrd="0" parTransId="{E286FA02-C4DA-4998-83FC-E2E552B77CDA}" sibTransId="{D2E04A0C-5016-4873-90F5-42771CA4C2B4}"/>
    <dgm:cxn modelId="{A956E1C6-68BE-4DCD-94C1-C431ED8BFCCD}" type="presOf" srcId="{01447DB6-3E9D-4E80-A19F-8668A9E24D21}" destId="{34B55A89-74DA-4109-A603-93E27CD2EF30}" srcOrd="0" destOrd="0" presId="urn:microsoft.com/office/officeart/2005/8/layout/radial4"/>
    <dgm:cxn modelId="{FBF25DB8-2657-48B3-8B24-5836D82BB31D}" type="presParOf" srcId="{B4A0071D-B500-44F1-AAC8-E2B504CD7AD8}" destId="{6A9F5EE1-100B-4010-8E81-F884437A4C53}" srcOrd="0" destOrd="0" presId="urn:microsoft.com/office/officeart/2005/8/layout/radial4"/>
    <dgm:cxn modelId="{B87A3F7A-5E21-4511-9B29-838750789982}" type="presParOf" srcId="{B4A0071D-B500-44F1-AAC8-E2B504CD7AD8}" destId="{34B55A89-74DA-4109-A603-93E27CD2EF30}" srcOrd="1" destOrd="0" presId="urn:microsoft.com/office/officeart/2005/8/layout/radial4"/>
    <dgm:cxn modelId="{BC62DFDD-6B38-4904-814D-94CCAB76F28E}" type="presParOf" srcId="{B4A0071D-B500-44F1-AAC8-E2B504CD7AD8}" destId="{ADF88E63-24BE-4528-8F35-301BBF075C44}" srcOrd="2" destOrd="0" presId="urn:microsoft.com/office/officeart/2005/8/layout/radial4"/>
    <dgm:cxn modelId="{69F3A0A6-CDB4-4DE8-A37C-77FD8741A476}" type="presParOf" srcId="{B4A0071D-B500-44F1-AAC8-E2B504CD7AD8}" destId="{11657F35-32BD-4DA9-A6D4-4EACECE3F9AC}" srcOrd="3" destOrd="0" presId="urn:microsoft.com/office/officeart/2005/8/layout/radial4"/>
    <dgm:cxn modelId="{5505C0C3-6931-4521-AD57-91112396CEA1}" type="presParOf" srcId="{B4A0071D-B500-44F1-AAC8-E2B504CD7AD8}" destId="{7F6307FB-E60E-40B4-B22B-D715E3BD6A5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41BDB7-DDD5-46F2-AD2B-48CA171E7A7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2E625B-8056-4952-B1A8-959E50D6104B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PRESENTATION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869394DB-5986-4D0B-8ADF-1F9F1155B53B}" type="parTrans" cxnId="{0F7DA718-71B0-41D2-A8DB-2051D72AF9C8}">
      <dgm:prSet/>
      <dgm:spPr/>
      <dgm:t>
        <a:bodyPr/>
        <a:lstStyle/>
        <a:p>
          <a:endParaRPr lang="en-US"/>
        </a:p>
      </dgm:t>
    </dgm:pt>
    <dgm:pt modelId="{85AF09DD-28EF-4A64-86D1-DA87CD35DBFF}" type="sibTrans" cxnId="{0F7DA718-71B0-41D2-A8DB-2051D72AF9C8}">
      <dgm:prSet/>
      <dgm:spPr/>
      <dgm:t>
        <a:bodyPr/>
        <a:lstStyle/>
        <a:p>
          <a:endParaRPr lang="en-US"/>
        </a:p>
      </dgm:t>
    </dgm:pt>
    <dgm:pt modelId="{35F20EE8-B175-46A2-BFC0-CA2DCB507688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BUSINESS LOGIC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346F7BE8-E35F-46F6-9F96-B6B65AEE6D30}" type="parTrans" cxnId="{B6DAFE77-CC4F-4E92-B478-E13C082E4F65}">
      <dgm:prSet/>
      <dgm:spPr/>
      <dgm:t>
        <a:bodyPr/>
        <a:lstStyle/>
        <a:p>
          <a:endParaRPr lang="en-US"/>
        </a:p>
      </dgm:t>
    </dgm:pt>
    <dgm:pt modelId="{1C6E5E62-27F0-448C-B96B-1ABBB9EEEDA9}" type="sibTrans" cxnId="{B6DAFE77-CC4F-4E92-B478-E13C082E4F65}">
      <dgm:prSet/>
      <dgm:spPr/>
      <dgm:t>
        <a:bodyPr/>
        <a:lstStyle/>
        <a:p>
          <a:endParaRPr lang="en-US"/>
        </a:p>
      </dgm:t>
    </dgm:pt>
    <dgm:pt modelId="{053765BC-405D-4979-B88A-18DB4AE80B80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DATA ACCESS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208A7F44-3194-4B07-B213-066715517BD4}" type="parTrans" cxnId="{C0320783-7DD6-426D-9498-168BD3F9F09C}">
      <dgm:prSet/>
      <dgm:spPr/>
      <dgm:t>
        <a:bodyPr/>
        <a:lstStyle/>
        <a:p>
          <a:endParaRPr lang="en-US"/>
        </a:p>
      </dgm:t>
    </dgm:pt>
    <dgm:pt modelId="{7E182C90-7099-41E3-A2D8-B321940382A7}" type="sibTrans" cxnId="{C0320783-7DD6-426D-9498-168BD3F9F09C}">
      <dgm:prSet/>
      <dgm:spPr/>
      <dgm:t>
        <a:bodyPr/>
        <a:lstStyle/>
        <a:p>
          <a:endParaRPr lang="en-US"/>
        </a:p>
      </dgm:t>
    </dgm:pt>
    <dgm:pt modelId="{45E6618D-16D5-419B-AB8B-89C0F3442A2B}" type="pres">
      <dgm:prSet presAssocID="{EF41BDB7-DDD5-46F2-AD2B-48CA171E7A7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EFE397B-9D03-4B34-8813-7FF29FE9CECF}" type="pres">
      <dgm:prSet presAssocID="{EF41BDB7-DDD5-46F2-AD2B-48CA171E7A7C}" presName="Name1" presStyleCnt="0"/>
      <dgm:spPr/>
    </dgm:pt>
    <dgm:pt modelId="{88ADA31A-CBC6-4D57-A0D4-76FBD4E311F5}" type="pres">
      <dgm:prSet presAssocID="{EF41BDB7-DDD5-46F2-AD2B-48CA171E7A7C}" presName="cycle" presStyleCnt="0"/>
      <dgm:spPr/>
    </dgm:pt>
    <dgm:pt modelId="{25A0D326-7C81-413D-B592-8F0C87A23782}" type="pres">
      <dgm:prSet presAssocID="{EF41BDB7-DDD5-46F2-AD2B-48CA171E7A7C}" presName="srcNode" presStyleLbl="node1" presStyleIdx="0" presStyleCnt="3"/>
      <dgm:spPr/>
    </dgm:pt>
    <dgm:pt modelId="{D104D0C0-65BE-4ECE-931E-77C13A99999C}" type="pres">
      <dgm:prSet presAssocID="{EF41BDB7-DDD5-46F2-AD2B-48CA171E7A7C}" presName="conn" presStyleLbl="parChTrans1D2" presStyleIdx="0" presStyleCnt="1"/>
      <dgm:spPr/>
      <dgm:t>
        <a:bodyPr/>
        <a:lstStyle/>
        <a:p>
          <a:endParaRPr lang="en-US"/>
        </a:p>
      </dgm:t>
    </dgm:pt>
    <dgm:pt modelId="{22F7BD8A-7541-46CF-920D-66A136EE55E7}" type="pres">
      <dgm:prSet presAssocID="{EF41BDB7-DDD5-46F2-AD2B-48CA171E7A7C}" presName="extraNode" presStyleLbl="node1" presStyleIdx="0" presStyleCnt="3"/>
      <dgm:spPr/>
    </dgm:pt>
    <dgm:pt modelId="{9A51BBDC-C5DD-4770-8AE1-B678AE18917C}" type="pres">
      <dgm:prSet presAssocID="{EF41BDB7-DDD5-46F2-AD2B-48CA171E7A7C}" presName="dstNode" presStyleLbl="node1" presStyleIdx="0" presStyleCnt="3"/>
      <dgm:spPr/>
    </dgm:pt>
    <dgm:pt modelId="{8DB0A41B-13B6-4D41-BA9A-B866E3467B52}" type="pres">
      <dgm:prSet presAssocID="{1C2E625B-8056-4952-B1A8-959E50D6104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F8486-D392-432F-9C27-2481C17B75B5}" type="pres">
      <dgm:prSet presAssocID="{1C2E625B-8056-4952-B1A8-959E50D6104B}" presName="accent_1" presStyleCnt="0"/>
      <dgm:spPr/>
    </dgm:pt>
    <dgm:pt modelId="{2809824C-C96F-4220-97AC-0B8950352ED2}" type="pres">
      <dgm:prSet presAssocID="{1C2E625B-8056-4952-B1A8-959E50D6104B}" presName="accentRepeatNode" presStyleLbl="solidFgAcc1" presStyleIdx="0" presStyleCnt="3"/>
      <dgm:spPr>
        <a:solidFill>
          <a:schemeClr val="bg1">
            <a:lumMod val="85000"/>
          </a:schemeClr>
        </a:solidFill>
      </dgm:spPr>
    </dgm:pt>
    <dgm:pt modelId="{745693F0-6E54-42C8-9E78-3CBC2BAE04A9}" type="pres">
      <dgm:prSet presAssocID="{35F20EE8-B175-46A2-BFC0-CA2DCB50768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175E4-2CAE-4358-BDC8-48AF5B346FEC}" type="pres">
      <dgm:prSet presAssocID="{35F20EE8-B175-46A2-BFC0-CA2DCB507688}" presName="accent_2" presStyleCnt="0"/>
      <dgm:spPr/>
    </dgm:pt>
    <dgm:pt modelId="{690650B8-33BF-4D03-BD7A-B62C3563ECC4}" type="pres">
      <dgm:prSet presAssocID="{35F20EE8-B175-46A2-BFC0-CA2DCB507688}" presName="accentRepeatNode" presStyleLbl="solidFgAcc1" presStyleIdx="1" presStyleCnt="3" custLinFactNeighborX="3676" custLinFactNeighborY="-4615"/>
      <dgm:spPr>
        <a:solidFill>
          <a:schemeClr val="bg1">
            <a:lumMod val="85000"/>
          </a:schemeClr>
        </a:solidFill>
      </dgm:spPr>
    </dgm:pt>
    <dgm:pt modelId="{ADD0751A-AC2C-4901-961C-CF485729D4DA}" type="pres">
      <dgm:prSet presAssocID="{053765BC-405D-4979-B88A-18DB4AE80B80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0AE2F2-B615-49B6-A723-3F73F10A962E}" type="pres">
      <dgm:prSet presAssocID="{053765BC-405D-4979-B88A-18DB4AE80B80}" presName="accent_3" presStyleCnt="0"/>
      <dgm:spPr/>
    </dgm:pt>
    <dgm:pt modelId="{2CD20459-9E8D-4304-80AF-1C42F5DF85D8}" type="pres">
      <dgm:prSet presAssocID="{053765BC-405D-4979-B88A-18DB4AE80B80}" presName="accentRepeatNode" presStyleLbl="solidFgAcc1" presStyleIdx="2" presStyleCnt="3" custLinFactNeighborX="11239" custLinFactNeighborY="-3333"/>
      <dgm:spPr>
        <a:solidFill>
          <a:schemeClr val="bg1">
            <a:lumMod val="85000"/>
          </a:schemeClr>
        </a:solidFill>
      </dgm:spPr>
    </dgm:pt>
  </dgm:ptLst>
  <dgm:cxnLst>
    <dgm:cxn modelId="{C9F6A461-7D07-4042-968F-491350117D56}" type="presOf" srcId="{1C2E625B-8056-4952-B1A8-959E50D6104B}" destId="{8DB0A41B-13B6-4D41-BA9A-B866E3467B52}" srcOrd="0" destOrd="0" presId="urn:microsoft.com/office/officeart/2008/layout/VerticalCurvedList"/>
    <dgm:cxn modelId="{5E37CB29-3DC2-4707-A7BA-D783F26BA840}" type="presOf" srcId="{85AF09DD-28EF-4A64-86D1-DA87CD35DBFF}" destId="{D104D0C0-65BE-4ECE-931E-77C13A99999C}" srcOrd="0" destOrd="0" presId="urn:microsoft.com/office/officeart/2008/layout/VerticalCurvedList"/>
    <dgm:cxn modelId="{4F3F0AF4-CE52-4378-91B1-DE8AE4AF296E}" type="presOf" srcId="{EF41BDB7-DDD5-46F2-AD2B-48CA171E7A7C}" destId="{45E6618D-16D5-419B-AB8B-89C0F3442A2B}" srcOrd="0" destOrd="0" presId="urn:microsoft.com/office/officeart/2008/layout/VerticalCurvedList"/>
    <dgm:cxn modelId="{B6DAFE77-CC4F-4E92-B478-E13C082E4F65}" srcId="{EF41BDB7-DDD5-46F2-AD2B-48CA171E7A7C}" destId="{35F20EE8-B175-46A2-BFC0-CA2DCB507688}" srcOrd="1" destOrd="0" parTransId="{346F7BE8-E35F-46F6-9F96-B6B65AEE6D30}" sibTransId="{1C6E5E62-27F0-448C-B96B-1ABBB9EEEDA9}"/>
    <dgm:cxn modelId="{71E414E6-375D-4CC1-88CF-9C411216DDE3}" type="presOf" srcId="{053765BC-405D-4979-B88A-18DB4AE80B80}" destId="{ADD0751A-AC2C-4901-961C-CF485729D4DA}" srcOrd="0" destOrd="0" presId="urn:microsoft.com/office/officeart/2008/layout/VerticalCurvedList"/>
    <dgm:cxn modelId="{0F7DA718-71B0-41D2-A8DB-2051D72AF9C8}" srcId="{EF41BDB7-DDD5-46F2-AD2B-48CA171E7A7C}" destId="{1C2E625B-8056-4952-B1A8-959E50D6104B}" srcOrd="0" destOrd="0" parTransId="{869394DB-5986-4D0B-8ADF-1F9F1155B53B}" sibTransId="{85AF09DD-28EF-4A64-86D1-DA87CD35DBFF}"/>
    <dgm:cxn modelId="{C0320783-7DD6-426D-9498-168BD3F9F09C}" srcId="{EF41BDB7-DDD5-46F2-AD2B-48CA171E7A7C}" destId="{053765BC-405D-4979-B88A-18DB4AE80B80}" srcOrd="2" destOrd="0" parTransId="{208A7F44-3194-4B07-B213-066715517BD4}" sibTransId="{7E182C90-7099-41E3-A2D8-B321940382A7}"/>
    <dgm:cxn modelId="{04DAA0CB-755D-4BA8-8BE4-E885D3E0DF41}" type="presOf" srcId="{35F20EE8-B175-46A2-BFC0-CA2DCB507688}" destId="{745693F0-6E54-42C8-9E78-3CBC2BAE04A9}" srcOrd="0" destOrd="0" presId="urn:microsoft.com/office/officeart/2008/layout/VerticalCurvedList"/>
    <dgm:cxn modelId="{F6A78155-46FD-4417-9412-8849E471BE42}" type="presParOf" srcId="{45E6618D-16D5-419B-AB8B-89C0F3442A2B}" destId="{1EFE397B-9D03-4B34-8813-7FF29FE9CECF}" srcOrd="0" destOrd="0" presId="urn:microsoft.com/office/officeart/2008/layout/VerticalCurvedList"/>
    <dgm:cxn modelId="{79B32D9C-D18D-4B8D-AED5-52C13B2FCCED}" type="presParOf" srcId="{1EFE397B-9D03-4B34-8813-7FF29FE9CECF}" destId="{88ADA31A-CBC6-4D57-A0D4-76FBD4E311F5}" srcOrd="0" destOrd="0" presId="urn:microsoft.com/office/officeart/2008/layout/VerticalCurvedList"/>
    <dgm:cxn modelId="{F292A2BA-1F02-4C09-ACC3-F32E72D49BC9}" type="presParOf" srcId="{88ADA31A-CBC6-4D57-A0D4-76FBD4E311F5}" destId="{25A0D326-7C81-413D-B592-8F0C87A23782}" srcOrd="0" destOrd="0" presId="urn:microsoft.com/office/officeart/2008/layout/VerticalCurvedList"/>
    <dgm:cxn modelId="{03273168-5661-498D-AF7D-318CD0541B5A}" type="presParOf" srcId="{88ADA31A-CBC6-4D57-A0D4-76FBD4E311F5}" destId="{D104D0C0-65BE-4ECE-931E-77C13A99999C}" srcOrd="1" destOrd="0" presId="urn:microsoft.com/office/officeart/2008/layout/VerticalCurvedList"/>
    <dgm:cxn modelId="{F46CAE1C-FD92-4425-AEB7-0BA52EEAC717}" type="presParOf" srcId="{88ADA31A-CBC6-4D57-A0D4-76FBD4E311F5}" destId="{22F7BD8A-7541-46CF-920D-66A136EE55E7}" srcOrd="2" destOrd="0" presId="urn:microsoft.com/office/officeart/2008/layout/VerticalCurvedList"/>
    <dgm:cxn modelId="{E771809E-DEDD-403B-B7A5-47212A7B7674}" type="presParOf" srcId="{88ADA31A-CBC6-4D57-A0D4-76FBD4E311F5}" destId="{9A51BBDC-C5DD-4770-8AE1-B678AE18917C}" srcOrd="3" destOrd="0" presId="urn:microsoft.com/office/officeart/2008/layout/VerticalCurvedList"/>
    <dgm:cxn modelId="{AB7CAE36-3227-4937-A7E5-93AFBF14B051}" type="presParOf" srcId="{1EFE397B-9D03-4B34-8813-7FF29FE9CECF}" destId="{8DB0A41B-13B6-4D41-BA9A-B866E3467B52}" srcOrd="1" destOrd="0" presId="urn:microsoft.com/office/officeart/2008/layout/VerticalCurvedList"/>
    <dgm:cxn modelId="{A3B23D8F-AAA2-42AB-96C4-28E513062800}" type="presParOf" srcId="{1EFE397B-9D03-4B34-8813-7FF29FE9CECF}" destId="{2DEF8486-D392-432F-9C27-2481C17B75B5}" srcOrd="2" destOrd="0" presId="urn:microsoft.com/office/officeart/2008/layout/VerticalCurvedList"/>
    <dgm:cxn modelId="{6EE999AB-676C-4E3C-AA07-29276E1AF7E9}" type="presParOf" srcId="{2DEF8486-D392-432F-9C27-2481C17B75B5}" destId="{2809824C-C96F-4220-97AC-0B8950352ED2}" srcOrd="0" destOrd="0" presId="urn:microsoft.com/office/officeart/2008/layout/VerticalCurvedList"/>
    <dgm:cxn modelId="{92E12B3A-4DFA-4A15-937D-AAE2C9836222}" type="presParOf" srcId="{1EFE397B-9D03-4B34-8813-7FF29FE9CECF}" destId="{745693F0-6E54-42C8-9E78-3CBC2BAE04A9}" srcOrd="3" destOrd="0" presId="urn:microsoft.com/office/officeart/2008/layout/VerticalCurvedList"/>
    <dgm:cxn modelId="{39F079B4-6B07-4631-A12D-D0DE274B9480}" type="presParOf" srcId="{1EFE397B-9D03-4B34-8813-7FF29FE9CECF}" destId="{FFC175E4-2CAE-4358-BDC8-48AF5B346FEC}" srcOrd="4" destOrd="0" presId="urn:microsoft.com/office/officeart/2008/layout/VerticalCurvedList"/>
    <dgm:cxn modelId="{78E344FD-0101-4FB6-BB06-429908597828}" type="presParOf" srcId="{FFC175E4-2CAE-4358-BDC8-48AF5B346FEC}" destId="{690650B8-33BF-4D03-BD7A-B62C3563ECC4}" srcOrd="0" destOrd="0" presId="urn:microsoft.com/office/officeart/2008/layout/VerticalCurvedList"/>
    <dgm:cxn modelId="{D3E22EFD-5061-4500-B8CC-E99935818DB7}" type="presParOf" srcId="{1EFE397B-9D03-4B34-8813-7FF29FE9CECF}" destId="{ADD0751A-AC2C-4901-961C-CF485729D4DA}" srcOrd="5" destOrd="0" presId="urn:microsoft.com/office/officeart/2008/layout/VerticalCurvedList"/>
    <dgm:cxn modelId="{D46A8636-573E-407A-B08F-A1852867A794}" type="presParOf" srcId="{1EFE397B-9D03-4B34-8813-7FF29FE9CECF}" destId="{590AE2F2-B615-49B6-A723-3F73F10A962E}" srcOrd="6" destOrd="0" presId="urn:microsoft.com/office/officeart/2008/layout/VerticalCurvedList"/>
    <dgm:cxn modelId="{646E44EE-3E79-4624-A574-B36EB5A98B25}" type="presParOf" srcId="{590AE2F2-B615-49B6-A723-3F73F10A962E}" destId="{2CD20459-9E8D-4304-80AF-1C42F5DF85D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85FAB-08E8-4433-97CB-3DACD2EB519D}">
      <dsp:nvSpPr>
        <dsp:cNvPr id="0" name=""/>
        <dsp:cNvSpPr/>
      </dsp:nvSpPr>
      <dsp:spPr>
        <a:xfrm>
          <a:off x="2350836" y="1591799"/>
          <a:ext cx="1105283" cy="12301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Linux</a:t>
          </a:r>
          <a:endParaRPr lang="en-US" sz="2000" kern="1200" dirty="0"/>
        </a:p>
      </dsp:txBody>
      <dsp:txXfrm>
        <a:off x="2512701" y="1771944"/>
        <a:ext cx="781553" cy="869820"/>
      </dsp:txXfrm>
    </dsp:sp>
    <dsp:sp modelId="{60413264-A758-4ED8-9205-058B092C5516}">
      <dsp:nvSpPr>
        <dsp:cNvPr id="0" name=""/>
        <dsp:cNvSpPr/>
      </dsp:nvSpPr>
      <dsp:spPr>
        <a:xfrm rot="16200000">
          <a:off x="2842867" y="1308695"/>
          <a:ext cx="121221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61050" y="1395748"/>
        <a:ext cx="84855" cy="206610"/>
      </dsp:txXfrm>
    </dsp:sp>
    <dsp:sp modelId="{A8B3F084-C609-41DF-B7A5-B3D696D8E9F8}">
      <dsp:nvSpPr>
        <dsp:cNvPr id="0" name=""/>
        <dsp:cNvSpPr/>
      </dsp:nvSpPr>
      <dsp:spPr>
        <a:xfrm>
          <a:off x="2100268" y="-42552"/>
          <a:ext cx="1606419" cy="140563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OS Services</a:t>
          </a:r>
          <a:endParaRPr lang="en-US" sz="1500" kern="1200" dirty="0"/>
        </a:p>
      </dsp:txBody>
      <dsp:txXfrm>
        <a:off x="2335523" y="163298"/>
        <a:ext cx="1135909" cy="993932"/>
      </dsp:txXfrm>
    </dsp:sp>
    <dsp:sp modelId="{5FD6C9F3-8D91-4C6C-A11D-3D346290ACE1}">
      <dsp:nvSpPr>
        <dsp:cNvPr id="0" name=""/>
        <dsp:cNvSpPr/>
      </dsp:nvSpPr>
      <dsp:spPr>
        <a:xfrm rot="32373">
          <a:off x="3562829" y="2042100"/>
          <a:ext cx="25714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562831" y="2110607"/>
        <a:ext cx="180003" cy="206610"/>
      </dsp:txXfrm>
    </dsp:sp>
    <dsp:sp modelId="{1C81B57A-A34B-4DC2-BF49-77828593C166}">
      <dsp:nvSpPr>
        <dsp:cNvPr id="0" name=""/>
        <dsp:cNvSpPr/>
      </dsp:nvSpPr>
      <dsp:spPr>
        <a:xfrm>
          <a:off x="3941214" y="1455886"/>
          <a:ext cx="1715611" cy="1537637"/>
        </a:xfrm>
        <a:prstGeom prst="ellipse">
          <a:avLst/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USER Application</a:t>
          </a:r>
          <a:endParaRPr lang="en-US" sz="1500" kern="1200" dirty="0"/>
        </a:p>
      </dsp:txBody>
      <dsp:txXfrm>
        <a:off x="4192459" y="1681068"/>
        <a:ext cx="1213121" cy="1087273"/>
      </dsp:txXfrm>
    </dsp:sp>
    <dsp:sp modelId="{97BE43BE-98E9-4AE5-A36E-C4F98A061C56}">
      <dsp:nvSpPr>
        <dsp:cNvPr id="0" name=""/>
        <dsp:cNvSpPr/>
      </dsp:nvSpPr>
      <dsp:spPr>
        <a:xfrm rot="5316793">
          <a:off x="2855033" y="2770751"/>
          <a:ext cx="13252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74431" y="2819748"/>
        <a:ext cx="92769" cy="206610"/>
      </dsp:txXfrm>
    </dsp:sp>
    <dsp:sp modelId="{6D790799-C1A6-4912-A471-85393B0ED93D}">
      <dsp:nvSpPr>
        <dsp:cNvPr id="0" name=""/>
        <dsp:cNvSpPr/>
      </dsp:nvSpPr>
      <dsp:spPr>
        <a:xfrm>
          <a:off x="2177689" y="3071506"/>
          <a:ext cx="1526459" cy="1363880"/>
        </a:xfrm>
        <a:prstGeom prst="ellipse">
          <a:avLst/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Linux Kernel </a:t>
          </a:r>
          <a:endParaRPr lang="en-US" sz="1500" kern="1200" dirty="0"/>
        </a:p>
      </dsp:txBody>
      <dsp:txXfrm>
        <a:off x="2401234" y="3271242"/>
        <a:ext cx="1079369" cy="964408"/>
      </dsp:txXfrm>
    </dsp:sp>
    <dsp:sp modelId="{8A15B3A4-12E2-481B-BE90-498DFD692BAD}">
      <dsp:nvSpPr>
        <dsp:cNvPr id="0" name=""/>
        <dsp:cNvSpPr/>
      </dsp:nvSpPr>
      <dsp:spPr>
        <a:xfrm rot="10765899">
          <a:off x="2093140" y="2041815"/>
          <a:ext cx="182126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10800000">
        <a:off x="2147777" y="2110414"/>
        <a:ext cx="127488" cy="206610"/>
      </dsp:txXfrm>
    </dsp:sp>
    <dsp:sp modelId="{9325D8EB-F374-45FF-B488-BDF1EC5AC75D}">
      <dsp:nvSpPr>
        <dsp:cNvPr id="0" name=""/>
        <dsp:cNvSpPr/>
      </dsp:nvSpPr>
      <dsp:spPr>
        <a:xfrm>
          <a:off x="199057" y="1455894"/>
          <a:ext cx="1808244" cy="1537637"/>
        </a:xfrm>
        <a:prstGeom prst="ellipse">
          <a:avLst/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Hardware Controller</a:t>
          </a:r>
          <a:endParaRPr lang="en-US" sz="1500" kern="1200" dirty="0"/>
        </a:p>
      </dsp:txBody>
      <dsp:txXfrm>
        <a:off x="463868" y="1681076"/>
        <a:ext cx="1278622" cy="10872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E51143-86F1-4CDB-88E9-6664EC088D2B}">
      <dsp:nvSpPr>
        <dsp:cNvPr id="0" name=""/>
        <dsp:cNvSpPr/>
      </dsp:nvSpPr>
      <dsp:spPr>
        <a:xfrm>
          <a:off x="1712501" y="685"/>
          <a:ext cx="1633883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vice Management</a:t>
          </a:r>
          <a:endParaRPr lang="en-US" sz="1600" kern="1200" dirty="0"/>
        </a:p>
      </dsp:txBody>
      <dsp:txXfrm>
        <a:off x="1731213" y="19397"/>
        <a:ext cx="1596459" cy="601465"/>
      </dsp:txXfrm>
    </dsp:sp>
    <dsp:sp modelId="{4D2E88C2-FD69-4465-8EEB-821CF1B16D5A}">
      <dsp:nvSpPr>
        <dsp:cNvPr id="0" name=""/>
        <dsp:cNvSpPr/>
      </dsp:nvSpPr>
      <dsp:spPr>
        <a:xfrm rot="3600000">
          <a:off x="2464446" y="1106060"/>
          <a:ext cx="1184837" cy="255187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2541002" y="1157097"/>
        <a:ext cx="1031725" cy="153113"/>
      </dsp:txXfrm>
    </dsp:sp>
    <dsp:sp modelId="{65788452-4BE9-49FD-A139-51284C668080}">
      <dsp:nvSpPr>
        <dsp:cNvPr id="0" name=""/>
        <dsp:cNvSpPr/>
      </dsp:nvSpPr>
      <dsp:spPr>
        <a:xfrm>
          <a:off x="2945399" y="1827732"/>
          <a:ext cx="1277779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lock Device</a:t>
          </a:r>
          <a:endParaRPr lang="en-US" sz="1600" kern="1200" dirty="0"/>
        </a:p>
      </dsp:txBody>
      <dsp:txXfrm>
        <a:off x="2964111" y="1846444"/>
        <a:ext cx="1240355" cy="601465"/>
      </dsp:txXfrm>
    </dsp:sp>
    <dsp:sp modelId="{10F24591-C92F-4D28-BB99-E3D217AE926C}">
      <dsp:nvSpPr>
        <dsp:cNvPr id="0" name=""/>
        <dsp:cNvSpPr/>
      </dsp:nvSpPr>
      <dsp:spPr>
        <a:xfrm rot="10800000">
          <a:off x="2444002" y="2035371"/>
          <a:ext cx="445685" cy="223611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511085" y="2080093"/>
        <a:ext cx="311519" cy="134167"/>
      </dsp:txXfrm>
    </dsp:sp>
    <dsp:sp modelId="{AAEE297A-253E-409B-8C98-AF40FA47262A}">
      <dsp:nvSpPr>
        <dsp:cNvPr id="0" name=""/>
        <dsp:cNvSpPr/>
      </dsp:nvSpPr>
      <dsp:spPr>
        <a:xfrm>
          <a:off x="560901" y="1827732"/>
          <a:ext cx="1827390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racter Device </a:t>
          </a:r>
          <a:endParaRPr lang="en-US" sz="1600" kern="1200" dirty="0"/>
        </a:p>
      </dsp:txBody>
      <dsp:txXfrm>
        <a:off x="579613" y="1846444"/>
        <a:ext cx="1789966" cy="601465"/>
      </dsp:txXfrm>
    </dsp:sp>
    <dsp:sp modelId="{CB033CE0-6666-4782-B805-6F90415335CB}">
      <dsp:nvSpPr>
        <dsp:cNvPr id="0" name=""/>
        <dsp:cNvSpPr/>
      </dsp:nvSpPr>
      <dsp:spPr>
        <a:xfrm rot="18000000">
          <a:off x="1430445" y="1129883"/>
          <a:ext cx="1143148" cy="20754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492707" y="1171391"/>
        <a:ext cx="1018624" cy="1245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9F5EE1-100B-4010-8E81-F884437A4C53}">
      <dsp:nvSpPr>
        <dsp:cNvPr id="0" name=""/>
        <dsp:cNvSpPr/>
      </dsp:nvSpPr>
      <dsp:spPr>
        <a:xfrm>
          <a:off x="887048" y="926080"/>
          <a:ext cx="818190" cy="8181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mory Management </a:t>
          </a:r>
          <a:endParaRPr lang="en-US" sz="1100" kern="1200" dirty="0"/>
        </a:p>
      </dsp:txBody>
      <dsp:txXfrm>
        <a:off x="1006869" y="1045901"/>
        <a:ext cx="578548" cy="578548"/>
      </dsp:txXfrm>
    </dsp:sp>
    <dsp:sp modelId="{34B55A89-74DA-4109-A603-93E27CD2EF30}">
      <dsp:nvSpPr>
        <dsp:cNvPr id="0" name=""/>
        <dsp:cNvSpPr/>
      </dsp:nvSpPr>
      <dsp:spPr>
        <a:xfrm rot="12900000">
          <a:off x="329206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F88E63-24BE-4528-8F35-301BBF075C44}">
      <dsp:nvSpPr>
        <dsp:cNvPr id="0" name=""/>
        <dsp:cNvSpPr/>
      </dsp:nvSpPr>
      <dsp:spPr>
        <a:xfrm>
          <a:off x="249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uddy System</a:t>
          </a:r>
          <a:endParaRPr lang="en-US" sz="1400" kern="1200" dirty="0"/>
        </a:p>
      </dsp:txBody>
      <dsp:txXfrm>
        <a:off x="18462" y="407210"/>
        <a:ext cx="740855" cy="585399"/>
      </dsp:txXfrm>
    </dsp:sp>
    <dsp:sp modelId="{11657F35-32BD-4DA9-A6D4-4EACECE3F9AC}">
      <dsp:nvSpPr>
        <dsp:cNvPr id="0" name=""/>
        <dsp:cNvSpPr/>
      </dsp:nvSpPr>
      <dsp:spPr>
        <a:xfrm rot="19500000">
          <a:off x="1603039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6307FB-E60E-40B4-B22B-D715E3BD6A5B}">
      <dsp:nvSpPr>
        <dsp:cNvPr id="0" name=""/>
        <dsp:cNvSpPr/>
      </dsp:nvSpPr>
      <dsp:spPr>
        <a:xfrm>
          <a:off x="1814757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RU</a:t>
          </a:r>
          <a:endParaRPr lang="en-US" sz="1400" kern="1200" dirty="0"/>
        </a:p>
      </dsp:txBody>
      <dsp:txXfrm>
        <a:off x="1832970" y="407210"/>
        <a:ext cx="740855" cy="5853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04D0C0-65BE-4ECE-931E-77C13A99999C}">
      <dsp:nvSpPr>
        <dsp:cNvPr id="0" name=""/>
        <dsp:cNvSpPr/>
      </dsp:nvSpPr>
      <dsp:spPr>
        <a:xfrm>
          <a:off x="-2929267" y="-451273"/>
          <a:ext cx="3494835" cy="3494835"/>
        </a:xfrm>
        <a:prstGeom prst="blockArc">
          <a:avLst>
            <a:gd name="adj1" fmla="val 18900000"/>
            <a:gd name="adj2" fmla="val 2700000"/>
            <a:gd name="adj3" fmla="val 61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0A41B-13B6-4D41-BA9A-B866E3467B52}">
      <dsp:nvSpPr>
        <dsp:cNvPr id="0" name=""/>
        <dsp:cNvSpPr/>
      </dsp:nvSpPr>
      <dsp:spPr>
        <a:xfrm>
          <a:off x="363640" y="259228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PRESENTATION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363640" y="259228"/>
        <a:ext cx="4896863" cy="518457"/>
      </dsp:txXfrm>
    </dsp:sp>
    <dsp:sp modelId="{2809824C-C96F-4220-97AC-0B8950352ED2}">
      <dsp:nvSpPr>
        <dsp:cNvPr id="0" name=""/>
        <dsp:cNvSpPr/>
      </dsp:nvSpPr>
      <dsp:spPr>
        <a:xfrm>
          <a:off x="39604" y="194421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693F0-6E54-42C8-9E78-3CBC2BAE04A9}">
      <dsp:nvSpPr>
        <dsp:cNvPr id="0" name=""/>
        <dsp:cNvSpPr/>
      </dsp:nvSpPr>
      <dsp:spPr>
        <a:xfrm>
          <a:off x="552100" y="1036915"/>
          <a:ext cx="4708404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BUSINESS LOGIC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552100" y="1036915"/>
        <a:ext cx="4708404" cy="518457"/>
      </dsp:txXfrm>
    </dsp:sp>
    <dsp:sp modelId="{690650B8-33BF-4D03-BD7A-B62C3563ECC4}">
      <dsp:nvSpPr>
        <dsp:cNvPr id="0" name=""/>
        <dsp:cNvSpPr/>
      </dsp:nvSpPr>
      <dsp:spPr>
        <a:xfrm>
          <a:off x="251887" y="942199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D0751A-AC2C-4901-961C-CF485729D4DA}">
      <dsp:nvSpPr>
        <dsp:cNvPr id="0" name=""/>
        <dsp:cNvSpPr/>
      </dsp:nvSpPr>
      <dsp:spPr>
        <a:xfrm>
          <a:off x="363640" y="1814601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DATA ACCESS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363640" y="1814601"/>
        <a:ext cx="4896863" cy="518457"/>
      </dsp:txXfrm>
    </dsp:sp>
    <dsp:sp modelId="{2CD20459-9E8D-4304-80AF-1C42F5DF85D8}">
      <dsp:nvSpPr>
        <dsp:cNvPr id="0" name=""/>
        <dsp:cNvSpPr/>
      </dsp:nvSpPr>
      <dsp:spPr>
        <a:xfrm>
          <a:off x="112441" y="1728194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7/04/2018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7/04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6616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923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094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54812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77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xmlns="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xmlns="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1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" y="2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" y="2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3" y="1495447"/>
            <a:ext cx="11813715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77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AF4F1FB-F58A-402C-B9C9-1F90694A5B9C}" type="datetimeFigureOut">
              <a:rPr lang="en-US" smtClean="0"/>
              <a:t>4/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815F728-0559-4C80-AFBF-96427A0438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02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534953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B10E92A-A728-4C77-8191-62741A338FCB}" type="datetimeFigureOut">
              <a:rPr lang="en-US" smtClean="0"/>
              <a:t>4/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BAD677-CDED-453D-A17F-05E15E662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00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B987D8C-64E0-4D2B-9951-A57E1E3413AC}" type="datetimeFigureOut">
              <a:rPr lang="en-IN" smtClean="0"/>
              <a:t>07-04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1118F4-6E95-4522-8A42-C9A8A06693A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61603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66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pic>
        <p:nvPicPr>
          <p:cNvPr id="10" name="Picture 9" descr="Our_Universcity_Logotype-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7368" y="1196752"/>
            <a:ext cx="2232248" cy="53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940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634" userDrawn="1">
          <p15:clr>
            <a:srgbClr val="FBAE40"/>
          </p15:clr>
        </p15:guide>
        <p15:guide id="3" pos="7219" userDrawn="1">
          <p15:clr>
            <a:srgbClr val="FBAE40"/>
          </p15:clr>
        </p15:guide>
        <p15:guide id="4" orient="horz" pos="2614" userDrawn="1">
          <p15:clr>
            <a:srgbClr val="FBAE40"/>
          </p15:clr>
        </p15:guide>
        <p15:guide id="5" orient="horz" pos="3203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9"/>
          <p:cNvSpPr>
            <a:spLocks/>
          </p:cNvSpPr>
          <p:nvPr userDrawn="1"/>
        </p:nvSpPr>
        <p:spPr bwMode="auto">
          <a:xfrm>
            <a:off x="-312712" y="0"/>
            <a:ext cx="8760296" cy="8102938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4 h 1514"/>
              <a:gd name="T4" fmla="*/ 763 w 1637"/>
              <a:gd name="T5" fmla="*/ 1046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4"/>
                </a:cubicBezTo>
                <a:cubicBezTo>
                  <a:pt x="840" y="663"/>
                  <a:pt x="594" y="755"/>
                  <a:pt x="763" y="1046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>
            <a:extLst>
              <a:ext uri="{FF2B5EF4-FFF2-40B4-BE49-F238E27FC236}">
                <a16:creationId xmlns:a16="http://schemas.microsoft.com/office/drawing/2014/main" xmlns="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xmlns="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xmlns="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xmlns="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6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664335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5831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75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1" r:id="rId2"/>
    <p:sldLayoutId id="2147483720" r:id="rId3"/>
  </p:sldLayoutIdLst>
  <p:hf sldNum="0"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22" r:id="rId2"/>
    <p:sldLayoutId id="2147483672" r:id="rId3"/>
    <p:sldLayoutId id="2147483811" r:id="rId4"/>
    <p:sldLayoutId id="2147483781" r:id="rId5"/>
    <p:sldLayoutId id="2147483780" r:id="rId6"/>
    <p:sldLayoutId id="2147483734" r:id="rId7"/>
    <p:sldLayoutId id="2147483735" r:id="rId8"/>
    <p:sldLayoutId id="2147483812" r:id="rId9"/>
    <p:sldLayoutId id="2147483813" r:id="rId10"/>
    <p:sldLayoutId id="2147483815" r:id="rId11"/>
    <p:sldLayoutId id="2147483816" r:id="rId12"/>
    <p:sldLayoutId id="214748381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3212078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5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microsoft.com/office/2007/relationships/diagramDrawing" Target="../diagrams/drawing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63.png"/><Relationship Id="rId12" Type="http://schemas.openxmlformats.org/officeDocument/2006/relationships/diagramColors" Target="../diagrams/colors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11" Type="http://schemas.openxmlformats.org/officeDocument/2006/relationships/diagramQuickStyle" Target="../diagrams/quickStyle3.xml"/><Relationship Id="rId5" Type="http://schemas.openxmlformats.org/officeDocument/2006/relationships/diagramColors" Target="../diagrams/colors2.xml"/><Relationship Id="rId10" Type="http://schemas.openxmlformats.org/officeDocument/2006/relationships/diagramLayout" Target="../diagrams/layout3.xml"/><Relationship Id="rId4" Type="http://schemas.openxmlformats.org/officeDocument/2006/relationships/diagramQuickStyle" Target="../diagrams/quickStyle2.xml"/><Relationship Id="rId9" Type="http://schemas.openxmlformats.org/officeDocument/2006/relationships/diagramData" Target="../diagrams/data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5.gif"/><Relationship Id="rId7" Type="http://schemas.openxmlformats.org/officeDocument/2006/relationships/image" Target="../media/image6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5.jpg"/><Relationship Id="rId5" Type="http://schemas.openxmlformats.org/officeDocument/2006/relationships/image" Target="../media/image74.png"/><Relationship Id="rId4" Type="http://schemas.openxmlformats.org/officeDocument/2006/relationships/image" Target="../media/image73.jfi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-2616968" y="2996952"/>
            <a:ext cx="5399981" cy="10795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3</a:t>
            </a:r>
            <a:endParaRPr lang="en-US" sz="36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15880" y="3068960"/>
            <a:ext cx="50405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 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L SAIKRISHNA                         9403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NEGA                                    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959_IN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RISHIKESH S                            9395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JANA                                        94001_IN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HAVANA                                    93938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 VINAYKUMAR                        93992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761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therboard</a:t>
            </a: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Content Placeholder 1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2878" y="1613123"/>
            <a:ext cx="7000723" cy="4594225"/>
          </a:xfrm>
        </p:spPr>
      </p:pic>
      <p:cxnSp>
        <p:nvCxnSpPr>
          <p:cNvPr id="20" name="Straight Arrow Connector 19"/>
          <p:cNvCxnSpPr/>
          <p:nvPr/>
        </p:nvCxnSpPr>
        <p:spPr>
          <a:xfrm flipV="1">
            <a:off x="3867665" y="2014151"/>
            <a:ext cx="1433384" cy="2471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301049" y="2014151"/>
            <a:ext cx="308919" cy="101325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61989" y="1897332"/>
            <a:ext cx="135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PU SOCKET</a:t>
            </a:r>
          </a:p>
        </p:txBody>
      </p:sp>
      <p:cxnSp>
        <p:nvCxnSpPr>
          <p:cNvPr id="27" name="Straight Arrow Connector 26"/>
          <p:cNvCxnSpPr>
            <a:stCxn id="28" idx="1"/>
          </p:cNvCxnSpPr>
          <p:nvPr/>
        </p:nvCxnSpPr>
        <p:spPr>
          <a:xfrm flipH="1">
            <a:off x="8933936" y="2683534"/>
            <a:ext cx="691978" cy="442725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625914" y="2421924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ATA CONNECTOR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6833287" y="396652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045146" y="4077731"/>
            <a:ext cx="15940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MOS BATTERY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5053914" y="1452488"/>
            <a:ext cx="308919" cy="345989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053914" y="1452488"/>
            <a:ext cx="1927654" cy="0"/>
          </a:xfrm>
          <a:prstGeom prst="lin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969210" y="1305346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DIMM SLOT</a:t>
            </a:r>
          </a:p>
        </p:txBody>
      </p:sp>
      <p:sp>
        <p:nvSpPr>
          <p:cNvPr id="15" name="Left Brace 14"/>
          <p:cNvSpPr/>
          <p:nvPr/>
        </p:nvSpPr>
        <p:spPr>
          <a:xfrm rot="18741364">
            <a:off x="2815844" y="3503140"/>
            <a:ext cx="645546" cy="1816443"/>
          </a:xfrm>
          <a:prstGeom prst="leftBrac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12045" y="4744994"/>
            <a:ext cx="1581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BACK PANEL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(PERIPHERAL CONNECTORS)</a:t>
            </a:r>
          </a:p>
        </p:txBody>
      </p:sp>
      <p:sp>
        <p:nvSpPr>
          <p:cNvPr id="19" name="Right Brace 18"/>
          <p:cNvSpPr/>
          <p:nvPr/>
        </p:nvSpPr>
        <p:spPr>
          <a:xfrm rot="3138051">
            <a:off x="7085269" y="5191652"/>
            <a:ext cx="593125" cy="809939"/>
          </a:xfrm>
          <a:prstGeom prst="rightBrac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61189" y="5634455"/>
            <a:ext cx="1618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FRONT PANEL CONNECTOR PINS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7381831" y="4385508"/>
            <a:ext cx="1292612" cy="44598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755072" y="4744994"/>
            <a:ext cx="1303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SLOT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4683211" y="4510216"/>
            <a:ext cx="1149178" cy="133453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138617" y="5844746"/>
            <a:ext cx="1915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XPRESS SLO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 flipV="1">
            <a:off x="8028137" y="333427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332108" y="3385692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OUTH BRIDGE</a:t>
            </a:r>
          </a:p>
        </p:txBody>
      </p:sp>
    </p:spTree>
    <p:extLst>
      <p:ext uri="{BB962C8B-B14F-4D97-AF65-F5344CB8AC3E}">
        <p14:creationId xmlns:p14="http://schemas.microsoft.com/office/powerpoint/2010/main" val="326016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/>
      <p:bldP spid="7" grpId="0"/>
      <p:bldP spid="13" grpId="0"/>
      <p:bldP spid="15" grpId="0" animBg="1"/>
      <p:bldP spid="17" grpId="0"/>
      <p:bldP spid="19" grpId="0" animBg="1"/>
      <p:bldP spid="21" grpId="0"/>
      <p:bldP spid="29" grpId="0"/>
      <p:bldP spid="32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ARD DISK</a:t>
            </a:r>
            <a:endParaRPr lang="en-US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7662" y="1289510"/>
            <a:ext cx="5668337" cy="412833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896820" y="40515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/>
              <a:t>Memory</a:t>
            </a:r>
            <a:endParaRPr lang="en-US" b="1" dirty="0"/>
          </a:p>
        </p:txBody>
      </p:sp>
      <p:pic>
        <p:nvPicPr>
          <p:cNvPr id="6" name="Picture 2" descr="http://www.byte-notes.com/sites/default/files/styles/large/public/field/image/types-of-cache-memory.gif?itok=2GeBSTq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32" y="1484784"/>
            <a:ext cx="4811077" cy="393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297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-24061" y="1196752"/>
            <a:ext cx="5399981" cy="1079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r" defTabSz="9144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accent1"/>
                </a:solidFill>
              </a:rPr>
              <a:t>WINDOWS FUNDEMANTALS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981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908050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Operating </a:t>
            </a:r>
            <a:r>
              <a:rPr lang="en-US" sz="3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335360" y="764704"/>
            <a:ext cx="3429000" cy="26003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501008"/>
            <a:ext cx="458383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mple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gramming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cessor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ktop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ed Operating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ustered System</a:t>
            </a:r>
          </a:p>
          <a:p>
            <a:pPr>
              <a:buFont typeface="+mj-lt"/>
              <a:buAutoNum type="arabicPeriod"/>
            </a:pP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l time 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rating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en-US" sz="2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024" y="980868"/>
            <a:ext cx="4536504" cy="3600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07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0704" y="620688"/>
            <a:ext cx="7632848" cy="568863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7872" y="1459582"/>
            <a:ext cx="4876800" cy="40576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824192" y="836712"/>
            <a:ext cx="4608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KERNEL ARCHITECTURE</a:t>
            </a:r>
            <a:endParaRPr lang="en-US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5038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64" y="1124744"/>
            <a:ext cx="5519936" cy="48965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4" y="1340768"/>
            <a:ext cx="5400600" cy="44958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75720" y="116632"/>
            <a:ext cx="47078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ndows Booting Proces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2203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58" y="1202432"/>
            <a:ext cx="4502274" cy="23705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192" y="1052736"/>
            <a:ext cx="3960440" cy="28746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4104793"/>
            <a:ext cx="5238750" cy="273630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871864" y="188640"/>
            <a:ext cx="34563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S</a:t>
            </a:r>
            <a:r>
              <a:rPr lang="en-US" sz="3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stem</a:t>
            </a:r>
            <a:endParaRPr lang="en-US" sz="3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473" y="4206697"/>
            <a:ext cx="3528392" cy="265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189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 flipH="1">
            <a:off x="3647728" y="143157"/>
            <a:ext cx="7476074" cy="47667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 Mechanisms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Window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istry i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collection of databases of configuration settings in Microsoft Windows operating syste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ervice Control Manager (SCM) is the key component of the operating system responsible for providing a management interface to services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7987" y="1128851"/>
            <a:ext cx="5543551" cy="58427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Registry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258653" y="1128851"/>
            <a:ext cx="5516444" cy="56801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Services 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9" y="3284984"/>
            <a:ext cx="5972175" cy="34656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7471" y="3519120"/>
            <a:ext cx="5715000" cy="322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3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device drivers in window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28055"/>
            <a:ext cx="4030755" cy="462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829" y="2197764"/>
            <a:ext cx="3338398" cy="475962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34880" y="260648"/>
            <a:ext cx="37529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Management</a:t>
            </a:r>
            <a:endParaRPr lang="en-US" sz="3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600382" y="2852936"/>
            <a:ext cx="25202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spend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um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reen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cklight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r Idle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040216" y="1525081"/>
            <a:ext cx="36406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wer Manager State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39616" y="1484784"/>
            <a:ext cx="23038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</a:t>
            </a:r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iver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55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189135"/>
            <a:ext cx="11016604" cy="863601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Process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</a:t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8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60" y="3791939"/>
            <a:ext cx="5384800" cy="2334225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223293" y="1700808"/>
            <a:ext cx="5384800" cy="4525963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reads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llest sequence of programmed instructions</a:t>
            </a:r>
            <a:r>
              <a:rPr lang="en-US" dirty="0"/>
              <a:t> </a:t>
            </a:r>
          </a:p>
        </p:txBody>
      </p:sp>
      <p:sp>
        <p:nvSpPr>
          <p:cNvPr id="8" name="Rectangle 7"/>
          <p:cNvSpPr/>
          <p:nvPr/>
        </p:nvSpPr>
        <p:spPr>
          <a:xfrm>
            <a:off x="101600" y="150604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llection of one or more threads and associated system resources such as memory, open files and devic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938" y="3140045"/>
            <a:ext cx="23406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 States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9987" y="3356992"/>
            <a:ext cx="5553075" cy="274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93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ENDA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86862" y="1530615"/>
            <a:ext cx="11805138" cy="3686153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rd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24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51784" y="169476"/>
            <a:ext cx="360387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124744"/>
            <a:ext cx="121920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  -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memory management systems map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es of the pages with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physical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es of the pages after the pages of the program has been loaded at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M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ace -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ddress space for each process is private and cannot be accessed by other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e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less it i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d. 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 does not represent the actual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ysical location of an object in memory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gi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It is a memory management scheme that eliminates the need for contiguous allocation of physical memory.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Pool  -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t also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lled fixed-size blocks allocation, is the use of pools 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 memor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management that allows dynamic memory 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locatio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Paged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Non paged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</a:p>
          <a:p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456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426921" y="2515897"/>
            <a:ext cx="6018865" cy="14974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endParaRPr lang="en-US" b="1" dirty="0">
              <a:latin typeface="+mn-l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328" y="2132856"/>
            <a:ext cx="7560840" cy="6262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4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  <a:endParaRPr lang="en-US" sz="4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47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: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fontAlgn="base"/>
            <a:r>
              <a:rPr lang="en-US" sz="2400" dirty="0" smtClean="0">
                <a:latin typeface="Baskerville Old Face" panose="02020602080505020303" pitchFamily="18" charset="0"/>
              </a:rPr>
              <a:t>Linux was introduces by </a:t>
            </a:r>
            <a:r>
              <a:rPr lang="en-US" sz="2400" dirty="0">
                <a:latin typeface="Baskerville Old Face" panose="02020602080505020303" pitchFamily="18" charset="0"/>
              </a:rPr>
              <a:t>L</a:t>
            </a:r>
            <a:r>
              <a:rPr lang="en-US" sz="2400" dirty="0" smtClean="0">
                <a:latin typeface="Baskerville Old Face" panose="02020602080505020303" pitchFamily="18" charset="0"/>
              </a:rPr>
              <a:t>inus Torvald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dirty="0" smtClean="0">
                <a:latin typeface="Baskerville Old Face" panose="02020602080505020303" pitchFamily="18" charset="0"/>
              </a:rPr>
              <a:t>in the year 1991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705" t="15981"/>
          <a:stretch/>
        </p:blipFill>
        <p:spPr>
          <a:xfrm>
            <a:off x="6672064" y="1702677"/>
            <a:ext cx="4412540" cy="22650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202" y="2132856"/>
            <a:ext cx="3858102" cy="21605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392144" y="4539479"/>
            <a:ext cx="2160240" cy="5760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ftware Version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7782543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9" idx="2"/>
          </p:cNvCxnSpPr>
          <p:nvPr/>
        </p:nvCxnSpPr>
        <p:spPr>
          <a:xfrm>
            <a:off x="8472264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6888088" y="5805264"/>
            <a:ext cx="144016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pha 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8817124" y="5805264"/>
            <a:ext cx="145534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3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Subsystem: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/>
          </p:nvPr>
        </p:nvGraphicFramePr>
        <p:xfrm>
          <a:off x="695400" y="1124744"/>
          <a:ext cx="5760640" cy="439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4772" y="1412776"/>
            <a:ext cx="2197882" cy="11154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9010" y="898931"/>
            <a:ext cx="2143125" cy="214312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0222" y="3175659"/>
            <a:ext cx="2444606" cy="13688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38545" y="3140968"/>
            <a:ext cx="1286047" cy="170153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0096" y="5119862"/>
            <a:ext cx="1582802" cy="15828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2"/>
          <a:srcRect r="943" b="-391"/>
          <a:stretch/>
        </p:blipFill>
        <p:spPr>
          <a:xfrm>
            <a:off x="9601366" y="5395258"/>
            <a:ext cx="1800200" cy="1274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01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79376" y="323945"/>
            <a:ext cx="25442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Kernel</a:t>
            </a:r>
            <a:endParaRPr lang="en-US" sz="32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373863" y="1340768"/>
            <a:ext cx="2919046" cy="53926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40815" y="1270429"/>
            <a:ext cx="3012831" cy="6799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Memory Manageme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3430" y="2583414"/>
            <a:ext cx="2227385" cy="633046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Virtual Files Syste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601248" y="2595136"/>
            <a:ext cx="2426677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Inter-process Communicat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268353" y="2583414"/>
            <a:ext cx="1957753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Process Scheduler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033891" y="4265676"/>
            <a:ext cx="2426677" cy="8323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Network Interface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251986" y="1610399"/>
            <a:ext cx="1477107" cy="97301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1486449" y="1880029"/>
            <a:ext cx="1254366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847432" y="1774522"/>
            <a:ext cx="762000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0" idx="3"/>
            <a:endCxn id="12" idx="1"/>
          </p:cNvCxnSpPr>
          <p:nvPr/>
        </p:nvCxnSpPr>
        <p:spPr>
          <a:xfrm>
            <a:off x="2740815" y="2899937"/>
            <a:ext cx="527538" cy="23447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1" idx="1"/>
            <a:endCxn id="12" idx="3"/>
          </p:cNvCxnSpPr>
          <p:nvPr/>
        </p:nvCxnSpPr>
        <p:spPr>
          <a:xfrm flipH="1" flipV="1">
            <a:off x="5226106" y="2923384"/>
            <a:ext cx="375142" cy="1172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3" idx="0"/>
          </p:cNvCxnSpPr>
          <p:nvPr/>
        </p:nvCxnSpPr>
        <p:spPr>
          <a:xfrm flipH="1" flipV="1">
            <a:off x="4247229" y="3275075"/>
            <a:ext cx="1" cy="99060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627123" y="3327828"/>
            <a:ext cx="1266094" cy="146538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" idx="2"/>
            <a:endCxn id="12" idx="0"/>
          </p:cNvCxnSpPr>
          <p:nvPr/>
        </p:nvCxnSpPr>
        <p:spPr>
          <a:xfrm flipH="1">
            <a:off x="4247230" y="1950367"/>
            <a:ext cx="1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440663" y="1950367"/>
            <a:ext cx="0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824192" y="3770375"/>
            <a:ext cx="35283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Run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0- Ha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1-Single 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2-MultiUser mode with Net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3-Full multi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4-Unu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5-X1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6-Reboot.</a:t>
            </a:r>
            <a:endParaRPr lang="en-US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44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404664"/>
            <a:ext cx="36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ting Process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820" y="980728"/>
            <a:ext cx="4607076" cy="532859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88088" y="40466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ll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68408" y="3645024"/>
            <a:ext cx="23042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Sh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our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o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T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Z-Shell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5920" y="1268760"/>
            <a:ext cx="4511431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89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476672"/>
            <a:ext cx="4968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Management </a:t>
            </a:r>
            <a:endParaRPr lang="en-US" sz="2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662" t="15637"/>
          <a:stretch/>
        </p:blipFill>
        <p:spPr>
          <a:xfrm>
            <a:off x="3380730" y="707504"/>
            <a:ext cx="8022828" cy="378681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5360" y="4581128"/>
            <a:ext cx="46805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Linux File System.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Ext 2.		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Ext 3.		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Ext 4.		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23992" y="4941168"/>
            <a:ext cx="27363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urnaling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Write back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Ordered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Data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41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51384" y="548680"/>
            <a:ext cx="6096000" cy="415498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nit process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arent 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ld </a:t>
            </a:r>
            <a:r>
              <a:rPr lang="en-US" sz="2400" dirty="0" smtClean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emo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pha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ombi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teractiv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tomatic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al tim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888" y="404664"/>
            <a:ext cx="5459519" cy="366833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807968" y="4217020"/>
            <a:ext cx="56166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Process Scheduling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CFS (First Come First Serv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JF      (Shortest Job Firs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und Rob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ority Scheduling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4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376" y="620688"/>
            <a:ext cx="69127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Management .</a:t>
            </a:r>
          </a:p>
          <a:p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9376" y="1267019"/>
            <a:ext cx="5832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vice files (/dev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Q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855640" y="364230"/>
          <a:ext cx="4784080" cy="2467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35360" y="2963553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714" y="3596915"/>
            <a:ext cx="5040560" cy="26238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7624" y="2963553"/>
            <a:ext cx="3384376" cy="2784413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6312024" y="4005063"/>
          <a:ext cx="2592288" cy="21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419216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1104800" y="1628800"/>
            <a:ext cx="6192688" cy="1008112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EMANTALS</a:t>
            </a:r>
            <a:endParaRPr lang="en-US" sz="2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913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8021" y="1994725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t has-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n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Out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Storage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ntrol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ALU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98143" y="1401663"/>
            <a:ext cx="11813715" cy="643612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 What is Computer?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354" y="1606062"/>
            <a:ext cx="5317515" cy="439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 txBox="1">
            <a:spLocks/>
          </p:cNvSpPr>
          <p:nvPr/>
        </p:nvSpPr>
        <p:spPr>
          <a:xfrm>
            <a:off x="191344" y="33265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HARDW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36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42603" y="191869"/>
            <a:ext cx="27655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28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</a:rPr>
              <a:t>Network Devices</a:t>
            </a:r>
            <a:endParaRPr lang="en-IN" sz="2800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ea typeface="Verdana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48" y="1166319"/>
            <a:ext cx="3450878" cy="25613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468555" y="1288152"/>
            <a:ext cx="1909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outer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050" name="Picture 2" descr="Image result for repeater network device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699" y="4136863"/>
            <a:ext cx="3106626" cy="255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nic network device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4403848"/>
            <a:ext cx="3965575" cy="1996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468555" y="3844476"/>
            <a:ext cx="2356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               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NIC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4" name="Picture 2" descr="Image result for switch networ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496" y="2396335"/>
            <a:ext cx="3552825" cy="128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Image result for hub network"/>
          <p:cNvSpPr>
            <a:spLocks noChangeAspect="1" noChangeArrowheads="1"/>
          </p:cNvSpPr>
          <p:nvPr/>
        </p:nvSpPr>
        <p:spPr bwMode="auto">
          <a:xfrm>
            <a:off x="1288914" y="2621024"/>
            <a:ext cx="1461505" cy="146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2" descr="Image result for hub netwo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86" name="Picture 14" descr="Image result for hub networ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14" y="2172451"/>
            <a:ext cx="3064143" cy="1349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Image result for bridge network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6" y="4312280"/>
            <a:ext cx="2753937" cy="204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085947" y="1288151"/>
            <a:ext cx="18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HUB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43151" y="1288151"/>
            <a:ext cx="17644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Switch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85947" y="4082534"/>
            <a:ext cx="19663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Brid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96216" y="3913232"/>
            <a:ext cx="21121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epeater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0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5136" y="332656"/>
            <a:ext cx="10515600" cy="965915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TYPES OF NETWORK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85" y="1859633"/>
            <a:ext cx="3286598" cy="2021524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279" y="1519707"/>
            <a:ext cx="4702839" cy="236145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567" y="1519707"/>
            <a:ext cx="2989948" cy="2176531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54" y="4386310"/>
            <a:ext cx="3098483" cy="1693545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236" y="4194882"/>
            <a:ext cx="2695575" cy="2085975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191" y="4129760"/>
            <a:ext cx="2790124" cy="2206646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470" y="4353055"/>
            <a:ext cx="2296160" cy="18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51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33800" y="228600"/>
            <a:ext cx="32262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opologies</a:t>
            </a:r>
            <a:endParaRPr lang="en-IN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105" y="1298299"/>
            <a:ext cx="4462677" cy="4767649"/>
          </a:xfrm>
          <a:prstGeom prst="rect">
            <a:avLst/>
          </a:prstGeom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09" y="1298301"/>
            <a:ext cx="7070501" cy="493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19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008" y="1610284"/>
            <a:ext cx="9105363" cy="494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64976" y="260648"/>
            <a:ext cx="10515600" cy="1141703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CP/IP LAYERS AND OSI LAYER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97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197700"/>
            <a:ext cx="10515600" cy="1325563"/>
          </a:xfrm>
        </p:spPr>
        <p:txBody>
          <a:bodyPr/>
          <a:lstStyle/>
          <a:p>
            <a:r>
              <a:rPr lang="en-US" b="1" dirty="0" smtClean="0"/>
              <a:t>                     </a:t>
            </a:r>
            <a:r>
              <a:rPr lang="en-US" b="1" dirty="0" smtClean="0"/>
              <a:t>      </a:t>
            </a:r>
            <a:r>
              <a:rPr lang="en-US" b="1" dirty="0" smtClean="0"/>
              <a:t>IP ADDRESS CLASSES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76" y="1196752"/>
            <a:ext cx="10447229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79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3352" y="3140968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  <a:endParaRPr lang="en-US" sz="2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8690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3992" y="2852936"/>
            <a:ext cx="5896044" cy="371278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5993" y="116632"/>
            <a:ext cx="86040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C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9416" y="1264692"/>
            <a:ext cx="98650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dynamically assign an IP address to any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ADVANTAG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CHNOLOGIES PRIOR TO DHC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 BY STEP PROCESS 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014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3832" y="2780928"/>
            <a:ext cx="6072142" cy="33896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711624" y="169476"/>
            <a:ext cx="5904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336" y="908720"/>
            <a:ext cx="12072664" cy="14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Domain Name System (</a:t>
            </a:r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is a hierarchical decentralized naming system for computers, services, or other resources connected to the Internet or a private network.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7864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784" y="2492896"/>
            <a:ext cx="4371211" cy="41029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27448" y="0"/>
            <a:ext cx="9361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ECTORY SERVICE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368" y="1323439"/>
            <a:ext cx="1108923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irectory services contain data an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tadata</a:t>
            </a:r>
          </a:p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X.500 formed the basis of a standard that is widely deploye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nown as LDAP                       </a:t>
            </a: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>
              <a:buSzPct val="121000"/>
            </a:pPr>
            <a:endParaRPr lang="en-US" sz="4400" b="1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0483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13186"/>
          <a:stretch/>
        </p:blipFill>
        <p:spPr>
          <a:xfrm>
            <a:off x="2075352" y="3429000"/>
            <a:ext cx="9997312" cy="265106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19536" y="169476"/>
            <a:ext cx="72903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L </a:t>
            </a:r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ICE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9336" y="1342805"/>
            <a:ext cx="11953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that receives incoming e-mail from local users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te senders and forwards outgoing e-mail for delivery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9336" y="2531805"/>
            <a:ext cx="424847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D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MT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3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AP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PI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06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645608"/>
            <a:ext cx="11793979" cy="4133869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Types of 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mbrane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ultimedi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89299" y="1155478"/>
            <a:ext cx="11813715" cy="47403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338" y="502764"/>
            <a:ext cx="3153507" cy="271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7865" y="662118"/>
            <a:ext cx="3144135" cy="3008198"/>
          </a:xfrm>
          <a:prstGeom prst="rect">
            <a:avLst/>
          </a:prstGeom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517" y="548681"/>
            <a:ext cx="2539512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79376" y="429309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use</a:t>
            </a:r>
            <a:endParaRPr lang="en-US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8021" y="5013176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mouse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Opt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Wireless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665" y="3819773"/>
            <a:ext cx="3024095" cy="279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6360" y="3755811"/>
            <a:ext cx="2552331" cy="293234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706" y="3755810"/>
            <a:ext cx="2840204" cy="3013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dirty="0" smtClean="0"/>
              <a:t>INPUT DE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99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75520" y="14604"/>
            <a:ext cx="79208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SERVICES</a:t>
            </a:r>
            <a:endParaRPr lang="en-US" sz="44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423" y="2813040"/>
            <a:ext cx="5054970" cy="30824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214933"/>
            <a:ext cx="120006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s as an intermediary between the user's computer and the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caching is a feature of proxy servers that stores content on the proxy server itself, allowing web services to share those resources to more user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480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83632" y="27856"/>
            <a:ext cx="65527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B SERVICE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2924944"/>
            <a:ext cx="6480720" cy="2736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63352" y="797297"/>
            <a:ext cx="120726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’s a service offered by an electronic device to another electronic device, communicating with each other via the World Wide Web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826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68227" y="3573016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+mj-lt"/>
              </a:rPr>
              <a:t>APPLICATIONS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619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95600" y="8857"/>
            <a:ext cx="64807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3352" y="980728"/>
            <a:ext cx="11521280" cy="11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 application program is a computer program designed to perform a group of coordinated functions, tasks, or activities for the benefit of the user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4172852" y="2054751"/>
          <a:ext cx="5292447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4420" y="2996952"/>
            <a:ext cx="38884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NENTS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7368" y="5373216"/>
            <a:ext cx="41044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: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32692" y="5120897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COMPIL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INTERPRETER</a:t>
            </a:r>
            <a:endParaRPr 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3251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75520" y="152727"/>
            <a:ext cx="8352928" cy="86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558411" y="79913"/>
            <a:ext cx="74168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- LIFE CYCLE</a:t>
            </a:r>
            <a:endParaRPr lang="en-US" sz="32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16823"/>
            <a:ext cx="5490997" cy="52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576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27648" y="116632"/>
            <a:ext cx="59046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4000" b="1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9936" y="2132465"/>
            <a:ext cx="4176464" cy="40349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1344" y="817927"/>
            <a:ext cx="118813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An application program interface (API) is code that allows two software programs to communicate with each other.</a:t>
            </a:r>
          </a:p>
          <a:p>
            <a:pPr>
              <a:lnSpc>
                <a:spcPct val="100000"/>
              </a:lnSpc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1344" y="2564904"/>
            <a:ext cx="59046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 OF ATTACKS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L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jec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oss-site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ipting 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nial-of-servic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ssion hijacking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10221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87488" y="116632"/>
            <a:ext cx="9145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ARCHITECTURE - TYPES</a:t>
            </a:r>
            <a:endParaRPr lang="en-US" sz="36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168" y="970007"/>
            <a:ext cx="2664296" cy="26326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6967" b="29824"/>
          <a:stretch/>
        </p:blipFill>
        <p:spPr>
          <a:xfrm>
            <a:off x="767408" y="699195"/>
            <a:ext cx="4703769" cy="3086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032" y="3786001"/>
            <a:ext cx="4140520" cy="26316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6040" y="3821584"/>
            <a:ext cx="5142194" cy="259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892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412776"/>
            <a:ext cx="5956218" cy="48245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91544" y="188640"/>
            <a:ext cx="74168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ERPRISE APPLICATIONS</a:t>
            </a:r>
            <a:endParaRPr lang="en-US" sz="40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82970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807968" y="386104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DATABASE FUNDAMENTAL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26640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476672"/>
            <a:ext cx="1065718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BMS</a:t>
            </a:r>
          </a:p>
          <a:p>
            <a:endParaRPr lang="en-US" dirty="0" smtClean="0"/>
          </a:p>
          <a:p>
            <a:r>
              <a:rPr lang="en-US" dirty="0" smtClean="0"/>
              <a:t>It is responsible for creating,</a:t>
            </a:r>
            <a:r>
              <a:rPr lang="en-US" dirty="0"/>
              <a:t> editing, deleting and generally maintaining a database or collection of data records. </a:t>
            </a:r>
            <a:endParaRPr lang="en-US" dirty="0" smtClean="0"/>
          </a:p>
          <a:p>
            <a:r>
              <a:rPr lang="en-US" dirty="0"/>
              <a:t> A database model is the manner in which the data collection is stored, managed and administered. </a:t>
            </a:r>
            <a:endParaRPr lang="en-US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610342" y="2708920"/>
            <a:ext cx="10585176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ifferent data models:</a:t>
            </a:r>
          </a:p>
          <a:p>
            <a:endParaRPr lang="en-US" sz="20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Flat file based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Hierarchical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Network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Object oriented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Relational database management system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942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684238"/>
            <a:ext cx="10972800" cy="944562"/>
          </a:xfrm>
        </p:spPr>
        <p:txBody>
          <a:bodyPr>
            <a:normAutofit/>
          </a:bodyPr>
          <a:lstStyle/>
          <a:p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Working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principle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scanner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556792"/>
            <a:ext cx="5904656" cy="3529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71664" y="4725144"/>
            <a:ext cx="4248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nalog to Digital converter)</a:t>
            </a:r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3071664" y="4522322"/>
            <a:ext cx="310857" cy="2748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783632" y="3059668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Charge Coupled Device)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2711624" y="3385073"/>
            <a:ext cx="279032" cy="54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407988" y="117127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SCANNER</a:t>
            </a:r>
            <a:endParaRPr lang="en-US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7176120" y="980728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Flatbed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Drum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Handheld scanne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568" y="2401024"/>
            <a:ext cx="2160240" cy="2324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368" y="2801526"/>
            <a:ext cx="2187824" cy="226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7476" y="4624262"/>
            <a:ext cx="1750892" cy="2189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481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696" y="3429000"/>
            <a:ext cx="5040560" cy="266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65030" y="448866"/>
            <a:ext cx="52565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DBMS advantages</a:t>
            </a:r>
            <a:r>
              <a:rPr lang="en-US" sz="2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:</a:t>
            </a:r>
            <a:endParaRPr lang="en-US" dirty="0">
              <a:cs typeface="Times New Roman" panose="02020603050405020304" pitchFamily="18" charset="0"/>
            </a:endParaRPr>
          </a:p>
          <a:p>
            <a:r>
              <a:rPr lang="en-US" dirty="0"/>
              <a:t>Inconsistency</a:t>
            </a:r>
            <a:endParaRPr lang="en-US" dirty="0" smtClean="0"/>
          </a:p>
          <a:p>
            <a:r>
              <a:rPr lang="en-US" dirty="0" smtClean="0"/>
              <a:t>Integrity</a:t>
            </a:r>
          </a:p>
          <a:p>
            <a:r>
              <a:rPr lang="en-US" dirty="0" smtClean="0">
                <a:cs typeface="Times New Roman" panose="02020603050405020304" pitchFamily="18" charset="0"/>
              </a:rPr>
              <a:t>Recovery </a:t>
            </a:r>
            <a:r>
              <a:rPr lang="en-US" dirty="0">
                <a:cs typeface="Times New Roman" panose="02020603050405020304" pitchFamily="18" charset="0"/>
              </a:rPr>
              <a:t>services</a:t>
            </a:r>
            <a:r>
              <a:rPr lang="en-US" dirty="0" smtClean="0">
                <a:cs typeface="Times New Roman" panose="02020603050405020304" pitchFamily="18" charset="0"/>
              </a:rPr>
              <a:t>.</a:t>
            </a:r>
          </a:p>
          <a:p>
            <a:r>
              <a:rPr lang="en-US" dirty="0"/>
              <a:t>Controlling </a:t>
            </a:r>
            <a:r>
              <a:rPr lang="en-US" dirty="0" smtClean="0"/>
              <a:t>Redundancy</a:t>
            </a:r>
          </a:p>
          <a:p>
            <a:r>
              <a:rPr lang="en-US" dirty="0"/>
              <a:t>Restricting unauthorized access</a:t>
            </a:r>
            <a:endParaRPr lang="en-US" dirty="0">
              <a:cs typeface="Times New Roman" panose="02020603050405020304" pitchFamily="18" charset="0"/>
            </a:endParaRPr>
          </a:p>
          <a:p>
            <a:r>
              <a:rPr lang="en-US" dirty="0"/>
              <a:t>Concurrency Control</a:t>
            </a:r>
          </a:p>
        </p:txBody>
      </p:sp>
      <p:sp>
        <p:nvSpPr>
          <p:cNvPr id="6" name="Content Placeholder 7"/>
          <p:cNvSpPr txBox="1">
            <a:spLocks/>
          </p:cNvSpPr>
          <p:nvPr/>
        </p:nvSpPr>
        <p:spPr>
          <a:xfrm>
            <a:off x="849132" y="448866"/>
            <a:ext cx="5342239" cy="2353365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File based approach Disadvantages: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Integrity problems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Concurrent access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Data redundancy</a:t>
            </a:r>
          </a:p>
          <a:p>
            <a:r>
              <a:rPr lang="en-US" sz="7200" dirty="0"/>
              <a:t>Data </a:t>
            </a:r>
            <a:r>
              <a:rPr lang="en-US" sz="7200" dirty="0" smtClean="0"/>
              <a:t>Inconsistency</a:t>
            </a:r>
          </a:p>
          <a:p>
            <a:r>
              <a:rPr lang="en-US" sz="7200" dirty="0"/>
              <a:t>Atomicity </a:t>
            </a:r>
            <a:r>
              <a:rPr lang="en-US" sz="7200" dirty="0" smtClean="0"/>
              <a:t>Problems</a:t>
            </a:r>
          </a:p>
          <a:p>
            <a:endParaRPr lang="en-US" sz="7200" dirty="0"/>
          </a:p>
          <a:p>
            <a:endParaRPr lang="en-US" sz="7200" dirty="0" smtClean="0">
              <a:cs typeface="Times New Roman" panose="02020603050405020304" pitchFamily="18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50125" y="2881826"/>
            <a:ext cx="3374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ACID PROPERTIES:</a:t>
            </a:r>
            <a:endParaRPr lang="en-US" sz="20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573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4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5010" y="1794994"/>
            <a:ext cx="11793979" cy="4026560"/>
          </a:xfrm>
        </p:spPr>
        <p:txBody>
          <a:bodyPr/>
          <a:lstStyle/>
          <a:p>
            <a:r>
              <a:rPr lang="en-US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D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ull 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 null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ique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fault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y key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eign key constraint</a:t>
            </a: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94994"/>
            <a:ext cx="4536504" cy="283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97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8068" y="222535"/>
            <a:ext cx="457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alization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08547" y="1556792"/>
          <a:ext cx="4136980" cy="1920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8990"/>
                <a:gridCol w="1310858"/>
                <a:gridCol w="790658"/>
                <a:gridCol w="8964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, 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, 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89899" y="1556792"/>
          <a:ext cx="503564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10"/>
                <a:gridCol w="1258910"/>
                <a:gridCol w="1258910"/>
                <a:gridCol w="1258910"/>
              </a:tblGrid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08074" y="821776"/>
            <a:ext cx="108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1 NF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008074" y="3728453"/>
            <a:ext cx="123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 2 N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4391222"/>
            <a:ext cx="2615411" cy="19813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899" y="4391222"/>
            <a:ext cx="4267570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58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60202" y="1352361"/>
            <a:ext cx="12031797" cy="4952185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07368" y="948276"/>
          <a:ext cx="4143080" cy="27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101"/>
                <a:gridCol w="2042979"/>
              </a:tblGrid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07368" y="3893511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44661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07368" y="5348339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388"/>
                <a:gridCol w="14433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8653" y="470667"/>
            <a:ext cx="116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3 NF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104112" y="486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BCNF</a:t>
            </a:r>
            <a:endParaRPr lang="en-US" sz="2400" b="1" dirty="0"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524" y="1495333"/>
            <a:ext cx="525520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32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62" y="514661"/>
            <a:ext cx="11016604" cy="86360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Structured query language</a:t>
            </a:r>
            <a:b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	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QL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s a standard computer language for relational database management and data manipulation.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tx2">
                    <a:lumMod val="50000"/>
                  </a:schemeClr>
                </a:solidFill>
              </a:rPr>
            </a:b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071664" y="1844688"/>
            <a:ext cx="4775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SQL language statement</a:t>
            </a:r>
          </a:p>
        </p:txBody>
      </p:sp>
      <p:cxnSp>
        <p:nvCxnSpPr>
          <p:cNvPr id="6" name="Straight Arrow Connector 5"/>
          <p:cNvCxnSpPr>
            <a:stCxn id="5" idx="2"/>
          </p:cNvCxnSpPr>
          <p:nvPr/>
        </p:nvCxnSpPr>
        <p:spPr>
          <a:xfrm>
            <a:off x="5459264" y="2682888"/>
            <a:ext cx="0" cy="381000"/>
          </a:xfrm>
          <a:prstGeom prst="straightConnector1">
            <a:avLst/>
          </a:prstGeom>
          <a:ln>
            <a:solidFill>
              <a:srgbClr val="0E0D0C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55664" y="3063888"/>
            <a:ext cx="6705600" cy="0"/>
          </a:xfrm>
          <a:prstGeom prst="line">
            <a:avLst/>
          </a:prstGeom>
          <a:ln w="12700"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2936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DL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669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M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8148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C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999264" y="3625862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TCL</a:t>
            </a:r>
          </a:p>
        </p:txBody>
      </p:sp>
      <p:cxnSp>
        <p:nvCxnSpPr>
          <p:cNvPr id="13" name="Straight Connector 12"/>
          <p:cNvCxnSpPr>
            <a:endCxn id="9" idx="0"/>
          </p:cNvCxnSpPr>
          <p:nvPr/>
        </p:nvCxnSpPr>
        <p:spPr>
          <a:xfrm>
            <a:off x="20556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3162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5768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773964" y="3063887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1249214" y="4492638"/>
            <a:ext cx="1612900" cy="1619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re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lter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runcate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rop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66965" y="4502164"/>
            <a:ext cx="1612900" cy="1609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sert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Upd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ele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elect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9992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mmi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ollback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148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Gran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evoke </a:t>
            </a:r>
          </a:p>
        </p:txBody>
      </p:sp>
      <p:cxnSp>
        <p:nvCxnSpPr>
          <p:cNvPr id="21" name="Straight Connector 20"/>
          <p:cNvCxnSpPr>
            <a:stCxn id="9" idx="2"/>
            <a:endCxn id="17" idx="0"/>
          </p:cNvCxnSpPr>
          <p:nvPr/>
        </p:nvCxnSpPr>
        <p:spPr>
          <a:xfrm>
            <a:off x="2055664" y="415926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316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576864" y="417831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61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525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General RDBMS architecture</a:t>
            </a: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7988" y="1268414"/>
            <a:ext cx="11793979" cy="4026560"/>
          </a:xfrm>
        </p:spPr>
        <p:txBody>
          <a:bodyPr/>
          <a:lstStyle/>
          <a:p>
            <a:r>
              <a:rPr lang="en-US" dirty="0" smtClean="0"/>
              <a:t>Application layer</a:t>
            </a:r>
          </a:p>
          <a:p>
            <a:r>
              <a:rPr lang="en-US" dirty="0" smtClean="0"/>
              <a:t>Logical layer</a:t>
            </a:r>
          </a:p>
          <a:p>
            <a:r>
              <a:rPr lang="en-US" dirty="0" smtClean="0"/>
              <a:t>Physical layer</a:t>
            </a:r>
            <a:endParaRPr lang="en-US" dirty="0"/>
          </a:p>
        </p:txBody>
      </p:sp>
      <p:pic>
        <p:nvPicPr>
          <p:cNvPr id="15366" name="Picture 6" descr="Image result for architecture of rdms application layer,logical layer,physical la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960" y="1268414"/>
            <a:ext cx="5467350" cy="422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648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775520" y="350100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STORAGE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015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176" y="1442254"/>
            <a:ext cx="10399257" cy="419869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means the devices and data connected to the computer through I/O operations.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onents of Storage System Environment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sts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nectivity</a:t>
            </a:r>
          </a:p>
          <a:p>
            <a:pPr marL="0" indent="0"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Bus, Port, Cable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rays</a:t>
            </a:r>
          </a:p>
          <a:p>
            <a:pPr marL="0" indent="0"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Magnetic media, Optical media, Solid State media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3487" y="2817853"/>
            <a:ext cx="5278232" cy="169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6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588" y="1929075"/>
            <a:ext cx="7518070" cy="4026560"/>
          </a:xfrm>
        </p:spPr>
        <p:txBody>
          <a:bodyPr/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ched Storage (D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twork Attached Storage (N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ea Networks (SAN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dundant Array of Independent Disk (RAID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0076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89397" y="618186"/>
            <a:ext cx="10444766" cy="19060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S :-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-attached storage (DAS) is digital storage directly attached to the computer accessing it, as opposed to storage accessed over a computer network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S:-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Network Attached Storage (NAS) device is a storage device connected to a network that allows storage and retrieval of data from a centralized locatio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320" y="2763256"/>
            <a:ext cx="4698841" cy="33799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4899" y="2763256"/>
            <a:ext cx="4709264" cy="31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56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875692"/>
            <a:ext cx="11793979" cy="4262824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CRT Monitor</a:t>
            </a:r>
          </a:p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ED</a:t>
            </a:r>
          </a:p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CD</a:t>
            </a:r>
          </a:p>
          <a:p>
            <a:pPr marL="0" indent="0">
              <a:buNone/>
            </a:pPr>
            <a:endParaRPr lang="en-US" sz="2400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4840" y="1366492"/>
            <a:ext cx="11813715" cy="5092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nitor</a:t>
            </a:r>
            <a:endParaRPr lang="en-US" sz="28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68" y="383591"/>
            <a:ext cx="5087969" cy="298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0" y="3605753"/>
            <a:ext cx="5718431" cy="304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b="1" dirty="0" smtClean="0"/>
              <a:t>OUTPUT DEVIC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5124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92428" y="777958"/>
            <a:ext cx="1106295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SAN serves to interconnect storage related resources that are connected to multiple servers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uses Fiber Channel Technology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also uses iSCSI.</a:t>
            </a: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4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nectivity Methods: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int to point (FC-P2P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A direct connection between the nod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Arbitrated Loop (FC-AL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evices are attached to a Shared loop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Switched Fabric (FC-SW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Multiple devices are connected via switching 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ies.</a:t>
            </a:r>
          </a:p>
          <a:p>
            <a:endParaRPr lang="en-US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529" y="1733254"/>
            <a:ext cx="5573706" cy="37811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5475" y="193183"/>
            <a:ext cx="52159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N</a:t>
            </a:r>
            <a:endParaRPr lang="en-US" sz="3200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35022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 and RAID 1</a:t>
            </a:r>
            <a:endParaRPr lang="en-US" dirty="0"/>
          </a:p>
        </p:txBody>
      </p:sp>
      <p:pic>
        <p:nvPicPr>
          <p:cNvPr id="16386" name="Picture 2" descr="Image result for raid 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038" y="1632856"/>
            <a:ext cx="3095625" cy="40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706" y="1489165"/>
            <a:ext cx="6477000" cy="46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85353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5 and RAID 6</a:t>
            </a:r>
            <a:endParaRPr lang="en-US" dirty="0"/>
          </a:p>
        </p:txBody>
      </p:sp>
      <p:sp>
        <p:nvSpPr>
          <p:cNvPr id="5" name="AutoShape 2" descr="Image result for raid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4" descr="Image result for raid 5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29" y="1819273"/>
            <a:ext cx="4490357" cy="364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9" name="Picture 7" descr="Image result for raid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726" y="1819272"/>
            <a:ext cx="5454740" cy="364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622944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1 and RAID 10</a:t>
            </a:r>
            <a:endParaRPr lang="en-US" dirty="0"/>
          </a:p>
        </p:txBody>
      </p:sp>
      <p:sp>
        <p:nvSpPr>
          <p:cNvPr id="5" name="AutoShape 2" descr="Image result for raid 0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4" y="2016443"/>
            <a:ext cx="4624251" cy="319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1" name="Picture 5" descr="Image result for raid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970" y="2016442"/>
            <a:ext cx="5938067" cy="319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04135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3215680" y="2731567"/>
            <a:ext cx="4392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hank You</a:t>
            </a:r>
            <a:endParaRPr lang="en-US" sz="4400" b="1" dirty="0">
              <a:solidFill>
                <a:schemeClr val="accent1">
                  <a:lumMod val="75000"/>
                </a:schemeClr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8" y="2701412"/>
            <a:ext cx="4631499" cy="347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41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PRINTERS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05" y="1490633"/>
            <a:ext cx="9946451" cy="402656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ypes of printers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1.Laser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2.Ink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3.Dot-Matrix</a:t>
            </a: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mponents of laser je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onner hopp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Laser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Drum assembly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Fus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Paper tray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950" y="1373125"/>
            <a:ext cx="4582258" cy="414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NANDIN\Downloads\laser-printer3-500x5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809" y="515934"/>
            <a:ext cx="2838510" cy="219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NANDIN\Downloads\electronic-ultrasonic-pest-repeller-250x2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259" y="2486437"/>
            <a:ext cx="2628183" cy="2076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NANDIN\Downloads\cartridge-part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747" y="4563004"/>
            <a:ext cx="2669861" cy="2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91964" y="292494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Laser Jet Printer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67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3" y="692696"/>
            <a:ext cx="6169967" cy="796136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Century Gothic" panose="020B0502020202020204" pitchFamily="34" charset="0"/>
              </a:rPr>
              <a:t>DOT MATRIX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3074" name="Picture 2" descr="C:\Users\NANDIN\Downloads\71SKjyePBzL._SL1500_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5" y="1340768"/>
            <a:ext cx="4032448" cy="237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NANDIN\Downloads\maxresdef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635" y="1412776"/>
            <a:ext cx="4003781" cy="229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58081" y="4437112"/>
            <a:ext cx="6169967" cy="7961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Century Gothic" panose="020B0502020202020204" pitchFamily="34" charset="0"/>
              </a:rPr>
              <a:t>INK JET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8" name="Picture 6" descr="C:\Users\NANDIN\Downloads\u_1014374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557" y="4052328"/>
            <a:ext cx="2664403" cy="268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NANDIN\Downloads\recycle-inkjet-cartridges-300x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385" y="3848725"/>
            <a:ext cx="2743573" cy="2743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NANDIN\Downloads\HTB10Ts0QpXXXXbuXXXXq6xXFXXX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006" y="4246074"/>
            <a:ext cx="2608971" cy="251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875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PS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1241" y="479247"/>
            <a:ext cx="2811073" cy="2811073"/>
          </a:xfrm>
          <a:prstGeom prst="rect">
            <a:avLst/>
          </a:prstGeom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79376" y="328498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nectors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2901" y="2420888"/>
            <a:ext cx="4267200" cy="3200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800" y="3645024"/>
            <a:ext cx="2935213" cy="29352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5" y="3933056"/>
            <a:ext cx="3247102" cy="2521916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7968828" y="184531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rts To Be Connected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0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3084</TotalTime>
  <Words>1172</Words>
  <Application>Microsoft Office PowerPoint</Application>
  <PresentationFormat>Widescreen</PresentationFormat>
  <Paragraphs>424</Paragraphs>
  <Slides>6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77" baseType="lpstr">
      <vt:lpstr>Arial</vt:lpstr>
      <vt:lpstr>Arial Rounded MT Bold</vt:lpstr>
      <vt:lpstr>Baskerville Old Face</vt:lpstr>
      <vt:lpstr>Calibri</vt:lpstr>
      <vt:lpstr>Century Gothic</vt:lpstr>
      <vt:lpstr>Times New Roman</vt:lpstr>
      <vt:lpstr>Verdana</vt:lpstr>
      <vt:lpstr>Wingdings</vt:lpstr>
      <vt:lpstr>Capgemini_Template</vt:lpstr>
      <vt:lpstr>Section slides</vt:lpstr>
      <vt:lpstr>Content Layouts</vt:lpstr>
      <vt:lpstr>Content and Image Layouts</vt:lpstr>
      <vt:lpstr>think-cell Slide</vt:lpstr>
      <vt:lpstr>PowerPoint Presentation</vt:lpstr>
      <vt:lpstr>AGENDA</vt:lpstr>
      <vt:lpstr>PowerPoint Presentation</vt:lpstr>
      <vt:lpstr>INPUT DEVICES</vt:lpstr>
      <vt:lpstr>Working principle of scanner</vt:lpstr>
      <vt:lpstr>OUTPUT DEVICES</vt:lpstr>
      <vt:lpstr>PRINTERS</vt:lpstr>
      <vt:lpstr>DOT MATRIX PRINTER</vt:lpstr>
      <vt:lpstr> SMPS</vt:lpstr>
      <vt:lpstr>Motherboard</vt:lpstr>
      <vt:lpstr>HARD DISK</vt:lpstr>
      <vt:lpstr>PowerPoint Presentation</vt:lpstr>
      <vt:lpstr>                                               Operating system </vt:lpstr>
      <vt:lpstr>PowerPoint Presentation</vt:lpstr>
      <vt:lpstr>PowerPoint Presentation</vt:lpstr>
      <vt:lpstr>PowerPoint Presentation</vt:lpstr>
      <vt:lpstr>Management Mechanisms </vt:lpstr>
      <vt:lpstr>PowerPoint Presentation</vt:lpstr>
      <vt:lpstr>                                        Process Management    </vt:lpstr>
      <vt:lpstr>PowerPoint Presentation</vt:lpstr>
      <vt:lpstr>PowerPoint Presentation</vt:lpstr>
      <vt:lpstr>Introduction:</vt:lpstr>
      <vt:lpstr>Linux Subsystem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TYPES OF NETWORKS</vt:lpstr>
      <vt:lpstr>PowerPoint Presentation</vt:lpstr>
      <vt:lpstr>           TCP/IP LAYERS AND OSI LAYERS</vt:lpstr>
      <vt:lpstr>                           IP ADDRESS CLAS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uctured query language  SQL is a standard computer language for relational database management and data manipulation. </vt:lpstr>
      <vt:lpstr>General RDBMS architecture</vt:lpstr>
      <vt:lpstr>PowerPoint Presentation</vt:lpstr>
      <vt:lpstr>STORAGE</vt:lpstr>
      <vt:lpstr>Types of Storage</vt:lpstr>
      <vt:lpstr>PowerPoint Presentation</vt:lpstr>
      <vt:lpstr>PowerPoint Presentation</vt:lpstr>
      <vt:lpstr>RAID 0 and RAID 1</vt:lpstr>
      <vt:lpstr>RAID 5 and RAID 6</vt:lpstr>
      <vt:lpstr>RAID 01 and RAID 10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 title</dc:title>
  <dc:creator>Tomasz Cwiklinski</dc:creator>
  <cp:lastModifiedBy>Kagithapu Lokanadha, Sai Krishna</cp:lastModifiedBy>
  <cp:revision>231</cp:revision>
  <dcterms:created xsi:type="dcterms:W3CDTF">2017-10-18T07:07:16Z</dcterms:created>
  <dcterms:modified xsi:type="dcterms:W3CDTF">2018-04-07T11:41:44Z</dcterms:modified>
</cp:coreProperties>
</file>